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39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4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82.xml" ContentType="application/vnd.openxmlformats-officedocument.presentationml.slideLayout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slideMasters/slideMaster4.xml" ContentType="application/vnd.openxmlformats-officedocument.presentationml.slide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Override PartName="/ppt/theme/theme10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Default Extension="bin" ContentType="application/vnd.openxmlformats-officedocument.oleObject"/>
  <Override PartName="/ppt/slideLayouts/slideLayout58.xml" ContentType="application/vnd.openxmlformats-officedocument.presentationml.slideLayout+xml"/>
  <Override PartName="/ppt/slideLayouts/slideLayout76.xml" ContentType="application/vnd.openxmlformats-officedocument.presentationml.slideLayout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slideLayouts/slideLayout47.xml" ContentType="application/vnd.openxmlformats-officedocument.presentationml.slideLayout+xml"/>
  <Override PartName="/ppt/tags/tag5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90.xml" ContentType="application/vnd.openxmlformats-officedocument.presentationml.slideLayout+xml"/>
  <Override PartName="/ppt/presentation.xml" ContentType="application/vnd.openxmlformats-officedocument.presentationml.presentation.main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slideLayouts/slideLayout61.xml" ContentType="application/vnd.openxmlformats-officedocument.presentationml.slideLayout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Masters/slideMaster9.xml" ContentType="application/vnd.openxmlformats-officedocument.presentationml.slideMaster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heme/theme9.xml" ContentType="application/vnd.openxmlformats-officedocument.theme+xml"/>
  <Override PartName="/ppt/theme/theme13.xml" ContentType="application/vnd.openxmlformats-officedocument.theme+xml"/>
  <Override PartName="/ppt/slideMasters/slideMaster5.xml" ContentType="application/vnd.openxmlformats-officedocument.presentationml.slideMaster+xml"/>
  <Override PartName="/ppt/handoutMasters/handoutMaster1.xml" ContentType="application/vnd.openxmlformats-officedocument.presentationml.handoutMaster+xml"/>
  <Override PartName="/ppt/slideLayouts/slideLayout59.xml" ContentType="application/vnd.openxmlformats-officedocument.presentationml.slideLayout+xml"/>
  <Override PartName="/ppt/tags/tag11.xml" ContentType="application/vnd.openxmlformats-officedocument.presentationml.tags+xml"/>
  <Override PartName="/ppt/slideLayouts/slideLayout68.xml" ContentType="application/vnd.openxmlformats-officedocument.presentationml.slideLayout+xml"/>
  <Override PartName="/ppt/theme/theme7.xml" ContentType="application/vnd.openxmlformats-officedocument.theme+xml"/>
  <Override PartName="/ppt/tags/tag20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docProps/core.xml" ContentType="application/vnd.openxmlformats-package.core-properties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6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91.xml" ContentType="application/vnd.openxmlformats-officedocument.presentationml.slideLayout+xml"/>
  <Default Extension="wmf" ContentType="image/x-wmf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slideMasters/slideMaster6.xml" ContentType="application/vnd.openxmlformats-officedocument.presentationml.slideMaster+xml"/>
  <Override PartName="/ppt/theme/theme8.xml" ContentType="application/vnd.openxmlformats-officedocument.theme+xml"/>
  <Override PartName="/ppt/slideLayouts/slideLayout89.xml" ContentType="application/vnd.openxmlformats-officedocument.presentationml.slideLayout+xml"/>
  <Override PartName="/ppt/theme/theme12.xml" ContentType="application/vnd.openxmlformats-officedocument.them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Layouts/slideLayout78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85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slideLayouts/slideLayout34.xml" ContentType="application/vnd.openxmlformats-officedocument.presentationml.slideLayout+xml"/>
  <Override PartName="/ppt/tags/tag3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19.xml" ContentType="application/vnd.openxmlformats-officedocument.presentationml.tags+xml"/>
  <Override PartName="/ppt/slideLayouts/slideLayout70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8" r:id="rId1"/>
    <p:sldMasterId id="2147483871" r:id="rId2"/>
    <p:sldMasterId id="2147483934" r:id="rId3"/>
    <p:sldMasterId id="2147483973" r:id="rId4"/>
    <p:sldMasterId id="2147483978" r:id="rId5"/>
    <p:sldMasterId id="2147483983" r:id="rId6"/>
    <p:sldMasterId id="2147483988" r:id="rId7"/>
    <p:sldMasterId id="2147484008" r:id="rId8"/>
    <p:sldMasterId id="2147484013" r:id="rId9"/>
    <p:sldMasterId id="2147484083" r:id="rId10"/>
    <p:sldMasterId id="2147484172" r:id="rId11"/>
  </p:sldMasterIdLst>
  <p:notesMasterIdLst>
    <p:notesMasterId r:id="rId13"/>
  </p:notesMasterIdLst>
  <p:handoutMasterIdLst>
    <p:handoutMasterId r:id="rId14"/>
  </p:handoutMasterIdLst>
  <p:sldIdLst>
    <p:sldId id="257" r:id="rId12"/>
  </p:sldIdLst>
  <p:sldSz cx="9906000" cy="6858000" type="A4"/>
  <p:notesSz cx="6735763" cy="9866313"/>
  <p:defaultTextStyle>
    <a:defPPr>
      <a:defRPr lang="ru-RU"/>
    </a:defPPr>
    <a:lvl1pPr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77838" indent="-20638"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57263" indent="-42863"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436688" indent="-65088"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914525" indent="-85725"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76B531"/>
    <a:srgbClr val="D9D9D9"/>
    <a:srgbClr val="537F23"/>
    <a:srgbClr val="131008"/>
    <a:srgbClr val="7D71A3"/>
    <a:srgbClr val="52B9E1"/>
    <a:srgbClr val="467DB5"/>
    <a:srgbClr val="955F98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586" autoAdjust="0"/>
    <p:restoredTop sz="94434" autoAdjust="0"/>
  </p:normalViewPr>
  <p:slideViewPr>
    <p:cSldViewPr>
      <p:cViewPr>
        <p:scale>
          <a:sx n="91" d="100"/>
          <a:sy n="91" d="100"/>
        </p:scale>
        <p:origin x="-48" y="1036"/>
      </p:cViewPr>
      <p:guideLst>
        <p:guide orient="horz" pos="4190"/>
        <p:guide orient="horz" pos="2332"/>
        <p:guide pos="337"/>
        <p:guide pos="3120"/>
        <p:guide pos="4033"/>
        <p:guide pos="2468"/>
        <p:guide pos="3293"/>
        <p:guide pos="5932"/>
        <p:guide pos="5859"/>
        <p:guide pos="2802"/>
      </p:guideLst>
    </p:cSldViewPr>
  </p:slideViewPr>
  <p:outlineViewPr>
    <p:cViewPr>
      <p:scale>
        <a:sx n="33" d="100"/>
        <a:sy n="33" d="100"/>
      </p:scale>
      <p:origin x="0" y="356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18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3713"/>
          </a:xfrm>
          <a:prstGeom prst="rect">
            <a:avLst/>
          </a:prstGeom>
        </p:spPr>
        <p:txBody>
          <a:bodyPr vert="horz" lIns="91426" tIns="45713" rIns="91426" bIns="45713" rtlCol="0"/>
          <a:lstStyle>
            <a:lvl1pPr algn="l" defTabSz="95782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4763" y="0"/>
            <a:ext cx="2919412" cy="493713"/>
          </a:xfrm>
          <a:prstGeom prst="rect">
            <a:avLst/>
          </a:prstGeom>
        </p:spPr>
        <p:txBody>
          <a:bodyPr vert="horz" lIns="91426" tIns="45713" rIns="91426" bIns="45713" rtlCol="0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4BFA4F6-93DC-49C0-BE9C-620ACB36CB12}" type="datetimeFigureOut">
              <a:rPr lang="ru-RU"/>
              <a:pPr>
                <a:defRPr/>
              </a:pPr>
              <a:t>26.02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1013"/>
            <a:ext cx="2919413" cy="493712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lvl1pPr algn="l" defTabSz="95782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4763" y="9371013"/>
            <a:ext cx="2919412" cy="493712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11F5FC3-6582-4A63-862C-0083137B8A3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3713"/>
          </a:xfrm>
          <a:prstGeom prst="rect">
            <a:avLst/>
          </a:prstGeom>
        </p:spPr>
        <p:txBody>
          <a:bodyPr vert="horz" lIns="91426" tIns="45713" rIns="91426" bIns="45713" rtlCol="0"/>
          <a:lstStyle>
            <a:lvl1pPr algn="l" defTabSz="95782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4763" y="0"/>
            <a:ext cx="2919412" cy="493713"/>
          </a:xfrm>
          <a:prstGeom prst="rect">
            <a:avLst/>
          </a:prstGeom>
        </p:spPr>
        <p:txBody>
          <a:bodyPr vert="horz" lIns="91426" tIns="45713" rIns="91426" bIns="45713" rtlCol="0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0208872-2166-4891-BFD6-475C666D0DAF}" type="datetimeFigureOut">
              <a:rPr lang="ru-RU"/>
              <a:pPr>
                <a:defRPr/>
              </a:pPr>
              <a:t>26.02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95325" y="739775"/>
            <a:ext cx="53451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6" tIns="45713" rIns="91426" bIns="45713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100" y="4686300"/>
            <a:ext cx="5389563" cy="4440238"/>
          </a:xfrm>
          <a:prstGeom prst="rect">
            <a:avLst/>
          </a:prstGeom>
        </p:spPr>
        <p:txBody>
          <a:bodyPr vert="horz" lIns="91426" tIns="45713" rIns="91426" bIns="45713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1013"/>
            <a:ext cx="2919413" cy="493712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lvl1pPr algn="l" defTabSz="95782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4763" y="9371013"/>
            <a:ext cx="2919412" cy="493712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E1704D6-35A0-46D7-8FB3-1A85F532DD8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873125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436563" algn="l" defTabSz="873125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873125" algn="l" defTabSz="873125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309688" algn="l" defTabSz="873125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747838" algn="l" defTabSz="873125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185416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6pPr>
    <a:lvl7pPr marL="2622499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7pPr>
    <a:lvl8pPr marL="3059582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8pPr>
    <a:lvl9pPr marL="3496666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57263" fontAlgn="base">
              <a:spcBef>
                <a:spcPct val="0"/>
              </a:spcBef>
              <a:spcAft>
                <a:spcPct val="0"/>
              </a:spcAft>
              <a:defRPr/>
            </a:pPr>
            <a:fld id="{4E104B23-CB1F-45E9-B3A9-CD8717D60E96}" type="slidenum">
              <a:rPr lang="ru-RU" altLang="ru-RU">
                <a:cs typeface="Arial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ru-RU" altLang="ru-RU">
              <a:cs typeface="Arial" charset="0"/>
            </a:endParaRPr>
          </a:p>
        </p:txBody>
      </p:sp>
      <p:sp>
        <p:nvSpPr>
          <p:cNvPr id="36761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512763" y="568325"/>
            <a:ext cx="5773737" cy="399891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Заметки 2">
            <a:extLst>
              <a:ext uri="{FF2B5EF4-FFF2-40B4-BE49-F238E27FC236}"/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4883150"/>
            <a:ext cx="5789612" cy="176213"/>
          </a:xfrm>
        </p:spPr>
        <p:txBody>
          <a:bodyPr lIns="0" tIns="0" rIns="0" bIns="0">
            <a:spAutoFit/>
          </a:bodyPr>
          <a:lstStyle/>
          <a:p>
            <a:pPr defTabSz="8886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altLang="ru-RU" sz="1147"/>
          </a:p>
        </p:txBody>
      </p:sp>
      <p:sp>
        <p:nvSpPr>
          <p:cNvPr id="367620" name="Номер слайда 3"/>
          <p:cNvSpPr txBox="1">
            <a:spLocks noGrp="1"/>
          </p:cNvSpPr>
          <p:nvPr/>
        </p:nvSpPr>
        <p:spPr bwMode="auto">
          <a:xfrm>
            <a:off x="6064250" y="8723313"/>
            <a:ext cx="539750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/>
            <a:fld id="{3ABDC68A-E679-4434-8827-3CDFDA55B95A}" type="slidenum">
              <a:rPr lang="ru-RU" altLang="ru-RU" sz="1200">
                <a:solidFill>
                  <a:srgbClr val="000000"/>
                </a:solidFill>
              </a:rPr>
              <a:pPr algn="r"/>
              <a:t>1</a:t>
            </a:fld>
            <a:endParaRPr lang="ru-RU" altLang="ru-RU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7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4.png"/><Relationship Id="rId5" Type="http://schemas.openxmlformats.org/officeDocument/2006/relationships/image" Target="../media/image10.png"/><Relationship Id="rId4" Type="http://schemas.openxmlformats.org/officeDocument/2006/relationships/oleObject" Target="../embeddings/oleObject3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4.png"/><Relationship Id="rId5" Type="http://schemas.openxmlformats.org/officeDocument/2006/relationships/image" Target="../media/image10.png"/><Relationship Id="rId4" Type="http://schemas.openxmlformats.org/officeDocument/2006/relationships/oleObject" Target="../embeddings/oleObject4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4.png"/><Relationship Id="rId5" Type="http://schemas.openxmlformats.org/officeDocument/2006/relationships/image" Target="../media/image10.png"/><Relationship Id="rId4" Type="http://schemas.openxmlformats.org/officeDocument/2006/relationships/oleObject" Target="../embeddings/oleObject5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7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4.png"/><Relationship Id="rId5" Type="http://schemas.openxmlformats.org/officeDocument/2006/relationships/image" Target="../media/image10.png"/><Relationship Id="rId4" Type="http://schemas.openxmlformats.org/officeDocument/2006/relationships/oleObject" Target="../embeddings/oleObject8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4.png"/><Relationship Id="rId5" Type="http://schemas.openxmlformats.org/officeDocument/2006/relationships/image" Target="../media/image10.png"/><Relationship Id="rId4" Type="http://schemas.openxmlformats.org/officeDocument/2006/relationships/oleObject" Target="../embeddings/oleObject9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4.png"/><Relationship Id="rId5" Type="http://schemas.openxmlformats.org/officeDocument/2006/relationships/image" Target="../media/image10.png"/><Relationship Id="rId4" Type="http://schemas.openxmlformats.org/officeDocument/2006/relationships/oleObject" Target="../embeddings/oleObject10.bin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7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4.png"/><Relationship Id="rId5" Type="http://schemas.openxmlformats.org/officeDocument/2006/relationships/image" Target="../media/image10.png"/><Relationship Id="rId4" Type="http://schemas.openxmlformats.org/officeDocument/2006/relationships/oleObject" Target="../embeddings/oleObject1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4.png"/><Relationship Id="rId5" Type="http://schemas.openxmlformats.org/officeDocument/2006/relationships/image" Target="../media/image10.png"/><Relationship Id="rId4" Type="http://schemas.openxmlformats.org/officeDocument/2006/relationships/oleObject" Target="../embeddings/oleObject1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4.png"/><Relationship Id="rId5" Type="http://schemas.openxmlformats.org/officeDocument/2006/relationships/image" Target="../media/image10.png"/><Relationship Id="rId4" Type="http://schemas.openxmlformats.org/officeDocument/2006/relationships/oleObject" Target="../embeddings/oleObject15.bin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7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4.png"/><Relationship Id="rId5" Type="http://schemas.openxmlformats.org/officeDocument/2006/relationships/image" Target="../media/image10.png"/><Relationship Id="rId4" Type="http://schemas.openxmlformats.org/officeDocument/2006/relationships/oleObject" Target="../embeddings/oleObject18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4.png"/><Relationship Id="rId5" Type="http://schemas.openxmlformats.org/officeDocument/2006/relationships/image" Target="../media/image10.png"/><Relationship Id="rId4" Type="http://schemas.openxmlformats.org/officeDocument/2006/relationships/oleObject" Target="../embeddings/oleObject19.bin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17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4.png"/><Relationship Id="rId5" Type="http://schemas.openxmlformats.org/officeDocument/2006/relationships/image" Target="../media/image10.png"/><Relationship Id="rId4" Type="http://schemas.openxmlformats.org/officeDocument/2006/relationships/oleObject" Target="../embeddings/oleObject22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4.png"/><Relationship Id="rId5" Type="http://schemas.openxmlformats.org/officeDocument/2006/relationships/image" Target="../media/image10.png"/><Relationship Id="rId4" Type="http://schemas.openxmlformats.org/officeDocument/2006/relationships/oleObject" Target="../embeddings/oleObject23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4.png"/><Relationship Id="rId5" Type="http://schemas.openxmlformats.org/officeDocument/2006/relationships/image" Target="../media/image10.png"/><Relationship Id="rId4" Type="http://schemas.openxmlformats.org/officeDocument/2006/relationships/oleObject" Target="../embeddings/oleObject24.bin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17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4.png"/><Relationship Id="rId5" Type="http://schemas.openxmlformats.org/officeDocument/2006/relationships/image" Target="../media/image10.png"/><Relationship Id="rId4" Type="http://schemas.openxmlformats.org/officeDocument/2006/relationships/oleObject" Target="../embeddings/oleObject27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4.png"/><Relationship Id="rId5" Type="http://schemas.openxmlformats.org/officeDocument/2006/relationships/image" Target="../media/image10.png"/><Relationship Id="rId4" Type="http://schemas.openxmlformats.org/officeDocument/2006/relationships/oleObject" Target="../embeddings/oleObject28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3" y="2181253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2952">
                <a:solidFill>
                  <a:schemeClr val="accent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56" y="3284541"/>
            <a:ext cx="4055268" cy="649287"/>
          </a:xfrm>
          <a:ln/>
        </p:spPr>
        <p:txBody>
          <a:bodyPr anchor="ctr"/>
          <a:lstStyle>
            <a:lvl1pPr marL="0" indent="0">
              <a:buFontTx/>
              <a:buNone/>
              <a:defRPr sz="1429" b="1">
                <a:solidFill>
                  <a:schemeClr val="accent4"/>
                </a:solidFill>
              </a:defRPr>
            </a:lvl1pPr>
          </a:lstStyle>
          <a:p>
            <a:r>
              <a:rPr lang="ru-RU" dirty="0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D276488E-2E1B-4C64-9B8E-3BDC1A927D3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8" y="1124744"/>
            <a:ext cx="2280443" cy="5184576"/>
          </a:xfrm>
        </p:spPr>
        <p:txBody>
          <a:bodyPr vert="eaVert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5" y="1124744"/>
            <a:ext cx="6681390" cy="5184576"/>
          </a:xfrm>
        </p:spPr>
        <p:txBody>
          <a:bodyPr vert="eaVert"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AE4AF09B-7F1A-4922-B6E1-B1311A4B584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7825" y="349250"/>
            <a:ext cx="1038225" cy="147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52" b="1" dirty="0">
                <a:solidFill>
                  <a:srgbClr val="414142"/>
                </a:solidFill>
                <a:latin typeface="Microsoft Sans Serif"/>
                <a:cs typeface="Microsoft Sans Serif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541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857" dirty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7825" y="508000"/>
            <a:ext cx="2992438" cy="147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52" dirty="0">
                <a:solidFill>
                  <a:srgbClr val="414142"/>
                </a:solidFill>
                <a:latin typeface="Microsoft Sans Serif"/>
                <a:cs typeface="Microsoft Sans Serif"/>
              </a:rPr>
              <a:t>Last Modified 25.04.2014 19:06 Russian Standard Time</a:t>
            </a:r>
            <a:endParaRPr lang="ru-RU" sz="952" dirty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7825" y="668338"/>
            <a:ext cx="2655888" cy="147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52" dirty="0">
                <a:solidFill>
                  <a:srgbClr val="414142"/>
                </a:solidFill>
                <a:latin typeface="Microsoft Sans Serif"/>
                <a:cs typeface="Microsoft Sans Serif"/>
              </a:rPr>
              <a:t>Printed 24.04.2014 20:59 Russian Standard Time</a:t>
            </a:r>
            <a:endParaRPr lang="ru-RU" sz="952" dirty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0" y="0"/>
            <a:ext cx="9902825" cy="6859588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5415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29" dirty="0">
                  <a:solidFill>
                    <a:srgbClr val="414142"/>
                  </a:solidFill>
                  <a:latin typeface="Microsoft Sans Serif"/>
                  <a:cs typeface="Microsoft Sans Serif"/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5415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29" dirty="0">
                  <a:solidFill>
                    <a:srgbClr val="414142"/>
                  </a:solidFill>
                  <a:latin typeface="Microsoft Sans Serif"/>
                  <a:cs typeface="Microsoft Sans Serif"/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05"/>
              <a:ext cx="3226" cy="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0" anchor="b">
              <a:spAutoFit/>
            </a:bodyPr>
            <a:lstStyle/>
            <a:p>
              <a:pPr defTabSz="856906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57" dirty="0">
                  <a:solidFill>
                    <a:srgbClr val="414142"/>
                  </a:solidFill>
                  <a:latin typeface="+mn-lt"/>
                  <a:cs typeface="Microsoft Sans Serif"/>
                </a:rPr>
                <a:t>КОНФИДЕНЦИАЛЬНАЯ ИНФОРМАЦИЯ, СОБСТВЕННОСТЬ McKINSEY &amp; COMPANY</a:t>
              </a:r>
            </a:p>
            <a:p>
              <a:pPr defTabSz="856906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57" dirty="0">
                  <a:solidFill>
                    <a:srgbClr val="414142"/>
                  </a:solidFill>
                  <a:latin typeface="+mn-lt"/>
                  <a:cs typeface="Microsoft Sans Serif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/>
              <a:ext uri="{AF507438-7753-43E0-B8FC-AC1667EBCBE1}"/>
            </a:extLst>
          </p:spPr>
          <p:txBody>
            <a:bodyPr wrap="none" anchor="ctr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/>
              <a:ext uri="{AF507438-7753-43E0-B8FC-AC1667EBCBE1}"/>
            </a:extLst>
          </p:spPr>
          <p:txBody>
            <a:bodyPr wrap="none" anchor="ctr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/>
              <a:ext uri="{AF507438-7753-43E0-B8FC-AC1667EBCBE1}"/>
            </a:extLst>
          </p:spPr>
          <p:txBody>
            <a:bodyPr wrap="none" anchor="ctr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</p:grpSp>
      <p:pic>
        <p:nvPicPr>
          <p:cNvPr id="15" name="TitleBottomBarBW" hidden="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/>
          <a:srcRect r="82095"/>
          <a:stretch>
            <a:fillRect/>
          </a:stretch>
        </p:blipFill>
        <p:spPr bwMode="auto">
          <a:xfrm>
            <a:off x="6902450" y="1196975"/>
            <a:ext cx="1169988" cy="1243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6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567113" y="4618038"/>
            <a:ext cx="6338887" cy="2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8" name="Group 22"/>
          <p:cNvGrpSpPr>
            <a:grpSpLocks/>
          </p:cNvGrpSpPr>
          <p:nvPr userDrawn="1"/>
        </p:nvGrpSpPr>
        <p:grpSpPr bwMode="auto">
          <a:xfrm>
            <a:off x="0" y="0"/>
            <a:ext cx="9906000" cy="981075"/>
            <a:chOff x="0" y="2505596"/>
            <a:chExt cx="6696744" cy="1707025"/>
          </a:xfrm>
        </p:grpSpPr>
        <p:sp>
          <p:nvSpPr>
            <p:cNvPr id="19" name="Rectangle 23"/>
            <p:cNvSpPr/>
            <p:nvPr userDrawn="1"/>
          </p:nvSpPr>
          <p:spPr>
            <a:xfrm>
              <a:off x="0" y="3635327"/>
              <a:ext cx="6696744" cy="57729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  <p:sp>
          <p:nvSpPr>
            <p:cNvPr id="20" name="Rectangle 24"/>
            <p:cNvSpPr/>
            <p:nvPr userDrawn="1"/>
          </p:nvSpPr>
          <p:spPr>
            <a:xfrm>
              <a:off x="0" y="3069080"/>
              <a:ext cx="6696744" cy="57729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21" dirty="0">
                <a:solidFill>
                  <a:srgbClr val="3E87BD"/>
                </a:solidFill>
                <a:cs typeface="Microsoft Sans Serif"/>
              </a:endParaRPr>
            </a:p>
          </p:txBody>
        </p:sp>
        <p:sp>
          <p:nvSpPr>
            <p:cNvPr id="21" name="Rectangle 25"/>
            <p:cNvSpPr/>
            <p:nvPr userDrawn="1"/>
          </p:nvSpPr>
          <p:spPr>
            <a:xfrm>
              <a:off x="0" y="2505596"/>
              <a:ext cx="6696744" cy="57729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</p:grpSp>
      <p:pic>
        <p:nvPicPr>
          <p:cNvPr id="22" name="Picture 2" descr="kar-word-logo1.png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0" y="981075"/>
            <a:ext cx="3236913" cy="1303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208584" y="3175999"/>
            <a:ext cx="5455758" cy="502445"/>
          </a:xfrm>
          <a:prstGeom prst="rect">
            <a:avLst/>
          </a:prstGeom>
        </p:spPr>
        <p:txBody>
          <a:bodyPr/>
          <a:lstStyle>
            <a:lvl1pPr>
              <a:defRPr sz="3429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 dirty="0"/>
              <a:t>Click to edit Master tit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208584" y="3945699"/>
            <a:ext cx="5455758" cy="241926"/>
          </a:xfrm>
        </p:spPr>
        <p:txBody>
          <a:bodyPr>
            <a:spAutoFit/>
          </a:bodyPr>
          <a:lstStyle>
            <a:lvl1pPr marL="0" indent="0">
              <a:buNone/>
              <a:defRPr sz="1429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9B9391C3-7056-4E73-8EFC-F806E6D114C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рки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/>
          </p:nvPr>
        </p:nvSpPr>
        <p:spPr>
          <a:xfrm>
            <a:off x="634954" y="1576919"/>
            <a:ext cx="8600216" cy="4581071"/>
          </a:xfrm>
        </p:spPr>
        <p:txBody>
          <a:bodyPr/>
          <a:lstStyle>
            <a:lvl1pPr>
              <a:defRPr b="1"/>
            </a:lvl1pPr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3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7A29337F-21C7-4160-93B0-BEDFC96F412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марки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/>
          </p:nvPr>
        </p:nvSpPr>
        <p:spPr>
          <a:xfrm>
            <a:off x="634955" y="1576918"/>
            <a:ext cx="8531729" cy="4458607"/>
          </a:xfrm>
        </p:spPr>
        <p:txBody>
          <a:bodyPr/>
          <a:lstStyle>
            <a:lvl1pPr>
              <a:defRPr b="1" baseline="0">
                <a:solidFill>
                  <a:schemeClr val="accent3"/>
                </a:solidFill>
              </a:defRPr>
            </a:lvl1pPr>
            <a:lvl2pPr marL="4536" indent="0">
              <a:spcBef>
                <a:spcPts val="571"/>
              </a:spcBef>
              <a:buFontTx/>
              <a:buNone/>
              <a:defRPr baseline="0"/>
            </a:lvl2pPr>
            <a:lvl3pPr marL="774061" indent="-237359" defTabSz="514026">
              <a:buClr>
                <a:schemeClr val="accent3"/>
              </a:buClr>
              <a:buSzPct val="130000"/>
              <a:buFont typeface="Wingdings" pitchFamily="2" charset="2"/>
              <a:buChar char="§"/>
              <a:defRPr sz="1905" baseline="0">
                <a:solidFill>
                  <a:schemeClr val="tx1"/>
                </a:solidFill>
                <a:latin typeface="Microsoft Sans Serif"/>
                <a:cs typeface="Microsoft Sans Serif"/>
              </a:defRPr>
            </a:lvl3pPr>
            <a:lvl4pPr marL="1197375" indent="-237359">
              <a:spcBef>
                <a:spcPts val="571"/>
              </a:spcBef>
              <a:buClr>
                <a:schemeClr val="accent3"/>
              </a:buClr>
              <a:buFont typeface="Arial" pitchFamily="34" charset="0"/>
              <a:buChar char="•"/>
              <a:defRPr sz="1714" baseline="0">
                <a:latin typeface="Microsoft Sans Serif"/>
                <a:cs typeface="Microsoft Sans Serif"/>
              </a:defRPr>
            </a:lvl4pPr>
            <a:lvl5pPr marL="1794552" indent="-326557">
              <a:spcBef>
                <a:spcPts val="0"/>
              </a:spcBef>
              <a:buFont typeface="Calibri" pitchFamily="34" charset="0"/>
              <a:buChar char="–"/>
              <a:defRPr sz="1524" baseline="0"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3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7A1ECADD-ADF5-4A34-9489-A04831A32B4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Нуме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634953" y="1576918"/>
            <a:ext cx="8600216" cy="4581071"/>
          </a:xfrm>
        </p:spPr>
        <p:txBody>
          <a:bodyPr/>
          <a:lstStyle>
            <a:lvl1pPr>
              <a:defRPr b="1"/>
            </a:lvl1pPr>
            <a:lvl2pPr marL="912487" indent="-435410">
              <a:buFont typeface="+mj-lt"/>
              <a:buAutoNum type="arabicPeriod"/>
              <a:defRPr/>
            </a:lvl2pPr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3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F551D40B-6908-49DB-8DAB-BA5EF21B37D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нуме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/>
          </p:nvPr>
        </p:nvSpPr>
        <p:spPr>
          <a:xfrm>
            <a:off x="634955" y="1576918"/>
            <a:ext cx="8531729" cy="4458607"/>
          </a:xfrm>
        </p:spPr>
        <p:txBody>
          <a:bodyPr/>
          <a:lstStyle>
            <a:lvl1pPr>
              <a:defRPr b="1" baseline="0">
                <a:solidFill>
                  <a:schemeClr val="accent3"/>
                </a:solidFill>
              </a:defRPr>
            </a:lvl1pPr>
            <a:lvl2pPr marL="4536" indent="0">
              <a:spcBef>
                <a:spcPts val="571"/>
              </a:spcBef>
              <a:buFontTx/>
              <a:buNone/>
              <a:defRPr baseline="0"/>
            </a:lvl2pPr>
            <a:lvl3pPr marL="972111" indent="-435410" defTabSz="514026">
              <a:buClr>
                <a:schemeClr val="accent3"/>
              </a:buClr>
              <a:buSzPct val="130000"/>
              <a:buFont typeface="+mj-lt"/>
              <a:buAutoNum type="arabicPeriod"/>
              <a:defRPr sz="1905" baseline="0">
                <a:latin typeface="Microsoft Sans Serif"/>
                <a:cs typeface="Microsoft Sans Serif"/>
              </a:defRPr>
            </a:lvl3pPr>
            <a:lvl4pPr marL="1286573" indent="-326557">
              <a:spcBef>
                <a:spcPts val="571"/>
              </a:spcBef>
              <a:buClr>
                <a:schemeClr val="accent3"/>
              </a:buClr>
              <a:buFont typeface="+mj-lt"/>
              <a:buAutoNum type="alphaLcParenR"/>
              <a:defRPr sz="1714" baseline="0">
                <a:latin typeface="Microsoft Sans Serif"/>
                <a:cs typeface="Microsoft Sans Serif"/>
              </a:defRPr>
            </a:lvl4pPr>
            <a:lvl5pPr marL="1794552" indent="-326557">
              <a:spcBef>
                <a:spcPts val="0"/>
              </a:spcBef>
              <a:buFont typeface="Calibri" pitchFamily="34" charset="0"/>
              <a:buChar char="–"/>
              <a:defRPr sz="1524" baseline="0"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3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0243D9DB-10BC-4844-8D49-6F7F0CF7240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ой слайд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4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080" tIns="43540" rIns="87080" bIns="43540" anchor="ctr"/>
          <a:lstStyle/>
          <a:p>
            <a:pPr algn="ctr" defTabSz="954155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3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A1D73926-0C85-4EC7-AE63-0F660A20CCA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 чер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4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080" tIns="43540" rIns="87080" bIns="43540" anchor="ctr"/>
          <a:lstStyle/>
          <a:p>
            <a:pPr algn="ctr" defTabSz="954155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3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solidFill>
                  <a:srgbClr val="FFFFFF"/>
                </a:solidFill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E0BFEF6D-B9B0-424C-A837-F55CA6902F6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73F80324-C8D2-453A-9A11-C974F83625C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145"/>
          <p:cNvSpPr>
            <a:spLocks/>
          </p:cNvSpPr>
          <p:nvPr userDrawn="1"/>
        </p:nvSpPr>
        <p:spPr bwMode="auto">
          <a:xfrm flipV="1">
            <a:off x="592138" y="1631950"/>
            <a:ext cx="1795462" cy="166688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/>
          </a:extLst>
        </p:spPr>
        <p:txBody>
          <a:bodyPr lIns="93175" tIns="46587" rIns="93175" bIns="46587"/>
          <a:lstStyle/>
          <a:p>
            <a:pPr defTabSz="954155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21" dirty="0">
              <a:solidFill>
                <a:srgbClr val="414142"/>
              </a:solidFill>
              <a:latin typeface="+mn-lt"/>
              <a:cs typeface="Microsoft Sans Serif"/>
            </a:endParaRPr>
          </a:p>
        </p:txBody>
      </p:sp>
      <p:sp>
        <p:nvSpPr>
          <p:cNvPr id="8" name="Freeform 146"/>
          <p:cNvSpPr>
            <a:spLocks/>
          </p:cNvSpPr>
          <p:nvPr userDrawn="1"/>
        </p:nvSpPr>
        <p:spPr bwMode="auto">
          <a:xfrm flipV="1">
            <a:off x="592138" y="3651250"/>
            <a:ext cx="1795462" cy="160338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/>
          </a:extLst>
        </p:spPr>
        <p:txBody>
          <a:bodyPr lIns="93175" tIns="46587" rIns="93175" bIns="46587"/>
          <a:lstStyle/>
          <a:p>
            <a:pPr defTabSz="954155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21" dirty="0">
              <a:solidFill>
                <a:srgbClr val="414142"/>
              </a:solidFill>
              <a:latin typeface="+mn-lt"/>
              <a:cs typeface="Microsoft Sans Serif"/>
            </a:endParaRPr>
          </a:p>
        </p:txBody>
      </p:sp>
      <p:sp>
        <p:nvSpPr>
          <p:cNvPr id="9" name="Freeform 145"/>
          <p:cNvSpPr>
            <a:spLocks/>
          </p:cNvSpPr>
          <p:nvPr userDrawn="1"/>
        </p:nvSpPr>
        <p:spPr bwMode="auto">
          <a:xfrm flipV="1">
            <a:off x="5548313" y="1631950"/>
            <a:ext cx="1795462" cy="166688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/>
          </a:extLst>
        </p:spPr>
        <p:txBody>
          <a:bodyPr lIns="93175" tIns="46587" rIns="93175" bIns="46587"/>
          <a:lstStyle/>
          <a:p>
            <a:pPr defTabSz="954155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21" dirty="0">
              <a:solidFill>
                <a:srgbClr val="414142"/>
              </a:solidFill>
              <a:latin typeface="+mn-lt"/>
              <a:cs typeface="Microsoft Sans Serif"/>
            </a:endParaRPr>
          </a:p>
        </p:txBody>
      </p:sp>
      <p:sp>
        <p:nvSpPr>
          <p:cNvPr id="10" name="Freeform 146"/>
          <p:cNvSpPr>
            <a:spLocks/>
          </p:cNvSpPr>
          <p:nvPr userDrawn="1"/>
        </p:nvSpPr>
        <p:spPr bwMode="auto">
          <a:xfrm flipV="1">
            <a:off x="5548313" y="3651250"/>
            <a:ext cx="1795462" cy="160338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/>
          </a:extLst>
        </p:spPr>
        <p:txBody>
          <a:bodyPr lIns="93175" tIns="46587" rIns="93175" bIns="46587"/>
          <a:lstStyle/>
          <a:p>
            <a:pPr defTabSz="954155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21" dirty="0">
              <a:solidFill>
                <a:srgbClr val="414142"/>
              </a:solidFill>
              <a:latin typeface="+mn-lt"/>
              <a:cs typeface="Microsoft Sans Serif"/>
            </a:endParaRPr>
          </a:p>
        </p:txBody>
      </p:sp>
      <p:grpSp>
        <p:nvGrpSpPr>
          <p:cNvPr id="11" name="Группа 14"/>
          <p:cNvGrpSpPr>
            <a:grpSpLocks/>
          </p:cNvGrpSpPr>
          <p:nvPr userDrawn="1"/>
        </p:nvGrpSpPr>
        <p:grpSpPr bwMode="auto">
          <a:xfrm>
            <a:off x="7321550" y="6319838"/>
            <a:ext cx="1260475" cy="287337"/>
            <a:chOff x="7637420" y="6635252"/>
            <a:chExt cx="1313748" cy="303026"/>
          </a:xfrm>
        </p:grpSpPr>
        <p:sp>
          <p:nvSpPr>
            <p:cNvPr id="12" name="Freeform 287"/>
            <p:cNvSpPr>
              <a:spLocks/>
            </p:cNvSpPr>
            <p:nvPr/>
          </p:nvSpPr>
          <p:spPr bwMode="auto">
            <a:xfrm>
              <a:off x="7637420" y="6700544"/>
              <a:ext cx="201861" cy="174115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4" name="Freeform 288"/>
            <p:cNvSpPr>
              <a:spLocks/>
            </p:cNvSpPr>
            <p:nvPr/>
          </p:nvSpPr>
          <p:spPr bwMode="auto">
            <a:xfrm>
              <a:off x="7860791" y="6700544"/>
              <a:ext cx="201861" cy="174115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5" name="Freeform 289"/>
            <p:cNvSpPr>
              <a:spLocks/>
            </p:cNvSpPr>
            <p:nvPr/>
          </p:nvSpPr>
          <p:spPr bwMode="auto">
            <a:xfrm>
              <a:off x="8084161" y="6700544"/>
              <a:ext cx="196897" cy="174115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6" name="Freeform 290"/>
            <p:cNvSpPr>
              <a:spLocks/>
            </p:cNvSpPr>
            <p:nvPr/>
          </p:nvSpPr>
          <p:spPr bwMode="auto">
            <a:xfrm>
              <a:off x="8307531" y="6700544"/>
              <a:ext cx="196896" cy="174115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7" name="Freeform 291"/>
            <p:cNvSpPr>
              <a:spLocks/>
            </p:cNvSpPr>
            <p:nvPr/>
          </p:nvSpPr>
          <p:spPr bwMode="auto">
            <a:xfrm>
              <a:off x="8754272" y="6700544"/>
              <a:ext cx="196896" cy="174115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1" name="Freeform 292"/>
            <p:cNvSpPr>
              <a:spLocks/>
            </p:cNvSpPr>
            <p:nvPr/>
          </p:nvSpPr>
          <p:spPr bwMode="auto">
            <a:xfrm>
              <a:off x="8530901" y="6700544"/>
              <a:ext cx="196897" cy="174115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2" name="Freeform 293"/>
            <p:cNvSpPr>
              <a:spLocks/>
            </p:cNvSpPr>
            <p:nvPr/>
          </p:nvSpPr>
          <p:spPr bwMode="auto">
            <a:xfrm>
              <a:off x="7860791" y="6906469"/>
              <a:ext cx="201861" cy="31809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3" name="Freeform 294"/>
            <p:cNvSpPr>
              <a:spLocks/>
            </p:cNvSpPr>
            <p:nvPr/>
          </p:nvSpPr>
          <p:spPr bwMode="auto">
            <a:xfrm>
              <a:off x="8084161" y="6906469"/>
              <a:ext cx="201861" cy="31809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4" name="Freeform 295"/>
            <p:cNvSpPr>
              <a:spLocks/>
            </p:cNvSpPr>
            <p:nvPr/>
          </p:nvSpPr>
          <p:spPr bwMode="auto">
            <a:xfrm>
              <a:off x="8307531" y="6906469"/>
              <a:ext cx="201861" cy="31809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5" name="Freeform 296"/>
            <p:cNvSpPr>
              <a:spLocks/>
            </p:cNvSpPr>
            <p:nvPr/>
          </p:nvSpPr>
          <p:spPr bwMode="auto">
            <a:xfrm>
              <a:off x="8530901" y="6906469"/>
              <a:ext cx="196897" cy="31809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6" name="Freeform 297"/>
            <p:cNvSpPr>
              <a:spLocks/>
            </p:cNvSpPr>
            <p:nvPr/>
          </p:nvSpPr>
          <p:spPr bwMode="auto">
            <a:xfrm>
              <a:off x="8754272" y="6906469"/>
              <a:ext cx="196896" cy="31809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7" name="Freeform 298"/>
            <p:cNvSpPr>
              <a:spLocks/>
            </p:cNvSpPr>
            <p:nvPr/>
          </p:nvSpPr>
          <p:spPr bwMode="auto">
            <a:xfrm>
              <a:off x="7637420" y="6906469"/>
              <a:ext cx="201861" cy="31809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8" name="Freeform 299"/>
            <p:cNvSpPr>
              <a:spLocks/>
            </p:cNvSpPr>
            <p:nvPr/>
          </p:nvSpPr>
          <p:spPr bwMode="auto">
            <a:xfrm>
              <a:off x="7860791" y="6635252"/>
              <a:ext cx="201861" cy="33484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9" name="Freeform 300"/>
            <p:cNvSpPr>
              <a:spLocks/>
            </p:cNvSpPr>
            <p:nvPr/>
          </p:nvSpPr>
          <p:spPr bwMode="auto">
            <a:xfrm>
              <a:off x="8084161" y="6635252"/>
              <a:ext cx="201861" cy="33484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30" name="Freeform 301"/>
            <p:cNvSpPr>
              <a:spLocks/>
            </p:cNvSpPr>
            <p:nvPr/>
          </p:nvSpPr>
          <p:spPr bwMode="auto">
            <a:xfrm>
              <a:off x="8307531" y="6635252"/>
              <a:ext cx="201861" cy="33484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31" name="Freeform 302"/>
            <p:cNvSpPr>
              <a:spLocks/>
            </p:cNvSpPr>
            <p:nvPr/>
          </p:nvSpPr>
          <p:spPr bwMode="auto">
            <a:xfrm>
              <a:off x="8530901" y="6635252"/>
              <a:ext cx="196897" cy="33484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32" name="Freeform 303"/>
            <p:cNvSpPr>
              <a:spLocks/>
            </p:cNvSpPr>
            <p:nvPr/>
          </p:nvSpPr>
          <p:spPr bwMode="auto">
            <a:xfrm>
              <a:off x="8754272" y="6635252"/>
              <a:ext cx="196896" cy="33484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33" name="Freeform 304"/>
            <p:cNvSpPr>
              <a:spLocks/>
            </p:cNvSpPr>
            <p:nvPr/>
          </p:nvSpPr>
          <p:spPr bwMode="auto">
            <a:xfrm>
              <a:off x="7637420" y="6635252"/>
              <a:ext cx="201861" cy="33484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8" name="Текст 5"/>
          <p:cNvSpPr>
            <a:spLocks noGrp="1"/>
          </p:cNvSpPr>
          <p:nvPr>
            <p:ph type="body" sz="quarter" idx="12"/>
          </p:nvPr>
        </p:nvSpPr>
        <p:spPr>
          <a:xfrm>
            <a:off x="581082" y="3949080"/>
            <a:ext cx="3796343" cy="2180356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13"/>
          </p:nvPr>
        </p:nvSpPr>
        <p:spPr>
          <a:xfrm>
            <a:off x="5519712" y="3949080"/>
            <a:ext cx="3796343" cy="2180356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</p:txBody>
      </p:sp>
      <p:sp>
        <p:nvSpPr>
          <p:cNvPr id="13" name="Рисунок 22"/>
          <p:cNvSpPr>
            <a:spLocks noGrp="1"/>
          </p:cNvSpPr>
          <p:nvPr>
            <p:ph type="pic" sz="quarter" idx="16"/>
          </p:nvPr>
        </p:nvSpPr>
        <p:spPr>
          <a:xfrm>
            <a:off x="592428" y="1936062"/>
            <a:ext cx="1785180" cy="157731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20" name="Рисунок 22"/>
          <p:cNvSpPr>
            <a:spLocks noGrp="1"/>
          </p:cNvSpPr>
          <p:nvPr>
            <p:ph type="pic" sz="quarter" idx="17"/>
          </p:nvPr>
        </p:nvSpPr>
        <p:spPr>
          <a:xfrm>
            <a:off x="5548369" y="1936062"/>
            <a:ext cx="1785180" cy="157731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34" name="Нижний колонтитул 2"/>
          <p:cNvSpPr>
            <a:spLocks noGrp="1"/>
          </p:cNvSpPr>
          <p:nvPr>
            <p:ph type="ftr" sz="quarter" idx="18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5" name="Номер слайда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D6FBAC5E-B135-422B-A07A-D2A327ADCF9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45"/>
          <p:cNvSpPr>
            <a:spLocks/>
          </p:cNvSpPr>
          <p:nvPr userDrawn="1"/>
        </p:nvSpPr>
        <p:spPr bwMode="auto">
          <a:xfrm flipV="1">
            <a:off x="5656263" y="1582738"/>
            <a:ext cx="3660775" cy="338137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/>
          </a:extLst>
        </p:spPr>
        <p:txBody>
          <a:bodyPr lIns="93175" tIns="46587" rIns="93175" bIns="46587"/>
          <a:lstStyle/>
          <a:p>
            <a:pPr defTabSz="954155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21" dirty="0">
              <a:solidFill>
                <a:srgbClr val="414142"/>
              </a:solidFill>
              <a:latin typeface="+mn-lt"/>
              <a:cs typeface="Microsoft Sans Serif"/>
            </a:endParaRPr>
          </a:p>
        </p:txBody>
      </p:sp>
      <p:sp>
        <p:nvSpPr>
          <p:cNvPr id="6" name="Freeform 146"/>
          <p:cNvSpPr>
            <a:spLocks/>
          </p:cNvSpPr>
          <p:nvPr userDrawn="1"/>
        </p:nvSpPr>
        <p:spPr bwMode="auto">
          <a:xfrm flipV="1">
            <a:off x="5656263" y="5697538"/>
            <a:ext cx="3660775" cy="327025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/>
          </a:extLst>
        </p:spPr>
        <p:txBody>
          <a:bodyPr lIns="93175" tIns="46587" rIns="93175" bIns="46587"/>
          <a:lstStyle/>
          <a:p>
            <a:pPr defTabSz="954155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21" dirty="0">
              <a:solidFill>
                <a:srgbClr val="414142"/>
              </a:solidFill>
              <a:latin typeface="+mn-lt"/>
              <a:cs typeface="Microsoft Sans Serif"/>
            </a:endParaRPr>
          </a:p>
        </p:txBody>
      </p:sp>
      <p:grpSp>
        <p:nvGrpSpPr>
          <p:cNvPr id="7" name="Группа 8"/>
          <p:cNvGrpSpPr>
            <a:grpSpLocks/>
          </p:cNvGrpSpPr>
          <p:nvPr userDrawn="1"/>
        </p:nvGrpSpPr>
        <p:grpSpPr bwMode="auto">
          <a:xfrm>
            <a:off x="7321550" y="6319838"/>
            <a:ext cx="1260475" cy="287337"/>
            <a:chOff x="7637420" y="6635252"/>
            <a:chExt cx="1313748" cy="303026"/>
          </a:xfrm>
        </p:grpSpPr>
        <p:sp>
          <p:nvSpPr>
            <p:cNvPr id="8" name="Freeform 287"/>
            <p:cNvSpPr>
              <a:spLocks/>
            </p:cNvSpPr>
            <p:nvPr/>
          </p:nvSpPr>
          <p:spPr bwMode="auto">
            <a:xfrm>
              <a:off x="7637420" y="6700544"/>
              <a:ext cx="201861" cy="174115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9" name="Freeform 288"/>
            <p:cNvSpPr>
              <a:spLocks/>
            </p:cNvSpPr>
            <p:nvPr/>
          </p:nvSpPr>
          <p:spPr bwMode="auto">
            <a:xfrm>
              <a:off x="7860791" y="6700544"/>
              <a:ext cx="201861" cy="174115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1" name="Freeform 289"/>
            <p:cNvSpPr>
              <a:spLocks/>
            </p:cNvSpPr>
            <p:nvPr/>
          </p:nvSpPr>
          <p:spPr bwMode="auto">
            <a:xfrm>
              <a:off x="8084161" y="6700544"/>
              <a:ext cx="196897" cy="174115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2" name="Freeform 290"/>
            <p:cNvSpPr>
              <a:spLocks/>
            </p:cNvSpPr>
            <p:nvPr/>
          </p:nvSpPr>
          <p:spPr bwMode="auto">
            <a:xfrm>
              <a:off x="8307531" y="6700544"/>
              <a:ext cx="196896" cy="174115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3" name="Freeform 291"/>
            <p:cNvSpPr>
              <a:spLocks/>
            </p:cNvSpPr>
            <p:nvPr/>
          </p:nvSpPr>
          <p:spPr bwMode="auto">
            <a:xfrm>
              <a:off x="8754272" y="6700544"/>
              <a:ext cx="196896" cy="174115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4" name="Freeform 292"/>
            <p:cNvSpPr>
              <a:spLocks/>
            </p:cNvSpPr>
            <p:nvPr/>
          </p:nvSpPr>
          <p:spPr bwMode="auto">
            <a:xfrm>
              <a:off x="8530901" y="6700544"/>
              <a:ext cx="196897" cy="174115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5" name="Freeform 293"/>
            <p:cNvSpPr>
              <a:spLocks/>
            </p:cNvSpPr>
            <p:nvPr/>
          </p:nvSpPr>
          <p:spPr bwMode="auto">
            <a:xfrm>
              <a:off x="7860791" y="6906469"/>
              <a:ext cx="201861" cy="31809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6" name="Freeform 294"/>
            <p:cNvSpPr>
              <a:spLocks/>
            </p:cNvSpPr>
            <p:nvPr/>
          </p:nvSpPr>
          <p:spPr bwMode="auto">
            <a:xfrm>
              <a:off x="8084161" y="6906469"/>
              <a:ext cx="201861" cy="31809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7" name="Freeform 295"/>
            <p:cNvSpPr>
              <a:spLocks/>
            </p:cNvSpPr>
            <p:nvPr/>
          </p:nvSpPr>
          <p:spPr bwMode="auto">
            <a:xfrm>
              <a:off x="8307531" y="6906469"/>
              <a:ext cx="201861" cy="31809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9" name="Freeform 296"/>
            <p:cNvSpPr>
              <a:spLocks/>
            </p:cNvSpPr>
            <p:nvPr/>
          </p:nvSpPr>
          <p:spPr bwMode="auto">
            <a:xfrm>
              <a:off x="8530901" y="6906469"/>
              <a:ext cx="196897" cy="31809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0" name="Freeform 297"/>
            <p:cNvSpPr>
              <a:spLocks/>
            </p:cNvSpPr>
            <p:nvPr/>
          </p:nvSpPr>
          <p:spPr bwMode="auto">
            <a:xfrm>
              <a:off x="8754272" y="6906469"/>
              <a:ext cx="196896" cy="31809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1" name="Freeform 298"/>
            <p:cNvSpPr>
              <a:spLocks/>
            </p:cNvSpPr>
            <p:nvPr/>
          </p:nvSpPr>
          <p:spPr bwMode="auto">
            <a:xfrm>
              <a:off x="7637420" y="6906469"/>
              <a:ext cx="201861" cy="31809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2" name="Freeform 299"/>
            <p:cNvSpPr>
              <a:spLocks/>
            </p:cNvSpPr>
            <p:nvPr/>
          </p:nvSpPr>
          <p:spPr bwMode="auto">
            <a:xfrm>
              <a:off x="7860791" y="6635252"/>
              <a:ext cx="201861" cy="33484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3" name="Freeform 300"/>
            <p:cNvSpPr>
              <a:spLocks/>
            </p:cNvSpPr>
            <p:nvPr/>
          </p:nvSpPr>
          <p:spPr bwMode="auto">
            <a:xfrm>
              <a:off x="8084161" y="6635252"/>
              <a:ext cx="201861" cy="33484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4" name="Freeform 301"/>
            <p:cNvSpPr>
              <a:spLocks/>
            </p:cNvSpPr>
            <p:nvPr/>
          </p:nvSpPr>
          <p:spPr bwMode="auto">
            <a:xfrm>
              <a:off x="8307531" y="6635252"/>
              <a:ext cx="201861" cy="33484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5" name="Freeform 302"/>
            <p:cNvSpPr>
              <a:spLocks/>
            </p:cNvSpPr>
            <p:nvPr/>
          </p:nvSpPr>
          <p:spPr bwMode="auto">
            <a:xfrm>
              <a:off x="8530901" y="6635252"/>
              <a:ext cx="196897" cy="33484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6" name="Freeform 303"/>
            <p:cNvSpPr>
              <a:spLocks/>
            </p:cNvSpPr>
            <p:nvPr/>
          </p:nvSpPr>
          <p:spPr bwMode="auto">
            <a:xfrm>
              <a:off x="8754272" y="6635252"/>
              <a:ext cx="196896" cy="33484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7" name="Freeform 304"/>
            <p:cNvSpPr>
              <a:spLocks/>
            </p:cNvSpPr>
            <p:nvPr/>
          </p:nvSpPr>
          <p:spPr bwMode="auto">
            <a:xfrm>
              <a:off x="7637420" y="6635252"/>
              <a:ext cx="201861" cy="33484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/>
            </a:extLst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8" name="Текст 5"/>
          <p:cNvSpPr>
            <a:spLocks noGrp="1"/>
          </p:cNvSpPr>
          <p:nvPr>
            <p:ph type="body" sz="quarter" idx="12"/>
          </p:nvPr>
        </p:nvSpPr>
        <p:spPr>
          <a:xfrm>
            <a:off x="581081" y="1572291"/>
            <a:ext cx="4371158" cy="4452329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</p:txBody>
      </p:sp>
      <p:sp>
        <p:nvSpPr>
          <p:cNvPr id="10" name="Рисунок 22"/>
          <p:cNvSpPr>
            <a:spLocks noGrp="1"/>
          </p:cNvSpPr>
          <p:nvPr>
            <p:ph type="pic" sz="quarter" idx="15"/>
          </p:nvPr>
        </p:nvSpPr>
        <p:spPr>
          <a:xfrm>
            <a:off x="5656969" y="2125999"/>
            <a:ext cx="3659802" cy="338332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28" name="Нижний колонтитул 2"/>
          <p:cNvSpPr>
            <a:spLocks noGrp="1"/>
          </p:cNvSpPr>
          <p:nvPr>
            <p:ph type="ftr" sz="quarter" idx="16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9" name="Номер слайда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B1DEE62B-70A2-4733-8493-0B7B6B260DF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1"/>
          <p:cNvGrpSpPr>
            <a:grpSpLocks noChangeAspect="1"/>
          </p:cNvGrpSpPr>
          <p:nvPr userDrawn="1"/>
        </p:nvGrpSpPr>
        <p:grpSpPr bwMode="auto">
          <a:xfrm>
            <a:off x="1219200" y="2224088"/>
            <a:ext cx="7323138" cy="2987675"/>
            <a:chOff x="1900645" y="2454346"/>
            <a:chExt cx="6397771" cy="2627564"/>
          </a:xfrm>
        </p:grpSpPr>
        <p:grpSp>
          <p:nvGrpSpPr>
            <p:cNvPr id="5" name="Группа 30"/>
            <p:cNvGrpSpPr>
              <a:grpSpLocks/>
            </p:cNvGrpSpPr>
            <p:nvPr userDrawn="1"/>
          </p:nvGrpSpPr>
          <p:grpSpPr bwMode="auto">
            <a:xfrm>
              <a:off x="1925609" y="2454346"/>
              <a:ext cx="2481165" cy="798601"/>
              <a:chOff x="1925609" y="2454346"/>
              <a:chExt cx="2481165" cy="798601"/>
            </a:xfrm>
          </p:grpSpPr>
          <p:sp>
            <p:nvSpPr>
              <p:cNvPr id="21" name="Line 37"/>
              <p:cNvSpPr>
                <a:spLocks noChangeShapeType="1"/>
              </p:cNvSpPr>
              <p:nvPr/>
            </p:nvSpPr>
            <p:spPr bwMode="auto">
              <a:xfrm flipH="1" flipV="1">
                <a:off x="1925609" y="2469703"/>
                <a:ext cx="1692018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22" name="Line 37"/>
              <p:cNvSpPr>
                <a:spLocks noChangeShapeType="1"/>
              </p:cNvSpPr>
              <p:nvPr/>
            </p:nvSpPr>
            <p:spPr bwMode="auto">
              <a:xfrm flipH="1" flipV="1">
                <a:off x="3592663" y="2454346"/>
                <a:ext cx="814111" cy="798601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  <p:grpSp>
          <p:nvGrpSpPr>
            <p:cNvPr id="6" name="Группа 29"/>
            <p:cNvGrpSpPr>
              <a:grpSpLocks/>
            </p:cNvGrpSpPr>
            <p:nvPr userDrawn="1"/>
          </p:nvGrpSpPr>
          <p:grpSpPr bwMode="auto">
            <a:xfrm>
              <a:off x="1936704" y="4316817"/>
              <a:ext cx="2454813" cy="765093"/>
              <a:chOff x="1936704" y="4316817"/>
              <a:chExt cx="2454813" cy="765093"/>
            </a:xfrm>
          </p:grpSpPr>
          <p:sp>
            <p:nvSpPr>
              <p:cNvPr id="19" name="Line 37"/>
              <p:cNvSpPr>
                <a:spLocks noChangeShapeType="1"/>
              </p:cNvSpPr>
              <p:nvPr/>
            </p:nvSpPr>
            <p:spPr bwMode="auto">
              <a:xfrm flipH="1">
                <a:off x="1936704" y="5079118"/>
                <a:ext cx="1690632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20" name="Line 37"/>
              <p:cNvSpPr>
                <a:spLocks noChangeShapeType="1"/>
              </p:cNvSpPr>
              <p:nvPr/>
            </p:nvSpPr>
            <p:spPr bwMode="auto">
              <a:xfrm flipH="1">
                <a:off x="3645365" y="4316817"/>
                <a:ext cx="746152" cy="765093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  <p:grpSp>
          <p:nvGrpSpPr>
            <p:cNvPr id="7" name="Группа 28"/>
            <p:cNvGrpSpPr>
              <a:grpSpLocks/>
            </p:cNvGrpSpPr>
            <p:nvPr userDrawn="1"/>
          </p:nvGrpSpPr>
          <p:grpSpPr bwMode="auto">
            <a:xfrm>
              <a:off x="5846377" y="4332174"/>
              <a:ext cx="2320284" cy="749736"/>
              <a:chOff x="5846377" y="4332174"/>
              <a:chExt cx="2320284" cy="749736"/>
            </a:xfrm>
          </p:grpSpPr>
          <p:sp>
            <p:nvSpPr>
              <p:cNvPr id="17" name="Line 37"/>
              <p:cNvSpPr>
                <a:spLocks noChangeShapeType="1"/>
              </p:cNvSpPr>
              <p:nvPr/>
            </p:nvSpPr>
            <p:spPr bwMode="auto">
              <a:xfrm>
                <a:off x="6474642" y="5079118"/>
                <a:ext cx="1692019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18" name="Line 37"/>
              <p:cNvSpPr>
                <a:spLocks noChangeShapeType="1"/>
              </p:cNvSpPr>
              <p:nvPr/>
            </p:nvSpPr>
            <p:spPr bwMode="auto">
              <a:xfrm>
                <a:off x="5846377" y="4332174"/>
                <a:ext cx="631039" cy="749736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  <p:grpSp>
          <p:nvGrpSpPr>
            <p:cNvPr id="8" name="Группа 27"/>
            <p:cNvGrpSpPr>
              <a:grpSpLocks/>
            </p:cNvGrpSpPr>
            <p:nvPr userDrawn="1"/>
          </p:nvGrpSpPr>
          <p:grpSpPr bwMode="auto">
            <a:xfrm>
              <a:off x="5893531" y="2454346"/>
              <a:ext cx="2404885" cy="791620"/>
              <a:chOff x="5893531" y="2454346"/>
              <a:chExt cx="2404885" cy="791620"/>
            </a:xfrm>
          </p:grpSpPr>
          <p:sp>
            <p:nvSpPr>
              <p:cNvPr id="15" name="Line 37"/>
              <p:cNvSpPr>
                <a:spLocks noChangeShapeType="1"/>
              </p:cNvSpPr>
              <p:nvPr/>
            </p:nvSpPr>
            <p:spPr bwMode="auto">
              <a:xfrm flipV="1">
                <a:off x="6606398" y="2457138"/>
                <a:ext cx="1692018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16" name="Line 37"/>
              <p:cNvSpPr>
                <a:spLocks noChangeShapeType="1"/>
              </p:cNvSpPr>
              <p:nvPr/>
            </p:nvSpPr>
            <p:spPr bwMode="auto">
              <a:xfrm flipV="1">
                <a:off x="5893531" y="2454346"/>
                <a:ext cx="715641" cy="79162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  <p:grpSp>
          <p:nvGrpSpPr>
            <p:cNvPr id="9" name="Группа 26"/>
            <p:cNvGrpSpPr>
              <a:grpSpLocks/>
            </p:cNvGrpSpPr>
            <p:nvPr userDrawn="1"/>
          </p:nvGrpSpPr>
          <p:grpSpPr bwMode="auto">
            <a:xfrm>
              <a:off x="1900645" y="3756958"/>
              <a:ext cx="2314737" cy="12566"/>
              <a:chOff x="1900645" y="3756958"/>
              <a:chExt cx="2314737" cy="12566"/>
            </a:xfrm>
          </p:grpSpPr>
          <p:sp>
            <p:nvSpPr>
              <p:cNvPr id="13" name="Line 37"/>
              <p:cNvSpPr>
                <a:spLocks noChangeShapeType="1"/>
              </p:cNvSpPr>
              <p:nvPr/>
            </p:nvSpPr>
            <p:spPr bwMode="auto">
              <a:xfrm flipH="1" flipV="1">
                <a:off x="1900645" y="3756958"/>
                <a:ext cx="1692018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14" name="Line 37"/>
              <p:cNvSpPr>
                <a:spLocks noChangeShapeType="1"/>
              </p:cNvSpPr>
              <p:nvPr/>
            </p:nvSpPr>
            <p:spPr bwMode="auto">
              <a:xfrm flipH="1">
                <a:off x="3567699" y="3756958"/>
                <a:ext cx="647683" cy="12566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 type="none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  <p:grpSp>
          <p:nvGrpSpPr>
            <p:cNvPr id="10" name="Группа 25"/>
            <p:cNvGrpSpPr>
              <a:grpSpLocks/>
            </p:cNvGrpSpPr>
            <p:nvPr userDrawn="1"/>
          </p:nvGrpSpPr>
          <p:grpSpPr bwMode="auto">
            <a:xfrm>
              <a:off x="6040543" y="3756958"/>
              <a:ext cx="2257873" cy="12566"/>
              <a:chOff x="6040543" y="3756958"/>
              <a:chExt cx="2257873" cy="12566"/>
            </a:xfrm>
          </p:grpSpPr>
          <p:sp>
            <p:nvSpPr>
              <p:cNvPr id="11" name="Line 37"/>
              <p:cNvSpPr>
                <a:spLocks noChangeShapeType="1"/>
              </p:cNvSpPr>
              <p:nvPr/>
            </p:nvSpPr>
            <p:spPr bwMode="auto">
              <a:xfrm flipV="1">
                <a:off x="6606398" y="3756958"/>
                <a:ext cx="1692018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12" name="Line 37"/>
              <p:cNvSpPr>
                <a:spLocks noChangeShapeType="1"/>
              </p:cNvSpPr>
              <p:nvPr/>
            </p:nvSpPr>
            <p:spPr bwMode="auto">
              <a:xfrm>
                <a:off x="6040543" y="3762543"/>
                <a:ext cx="590819" cy="6981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5" name="Рисунок 24"/>
          <p:cNvSpPr>
            <a:spLocks noGrp="1"/>
          </p:cNvSpPr>
          <p:nvPr>
            <p:ph type="pic" sz="quarter" idx="12"/>
          </p:nvPr>
        </p:nvSpPr>
        <p:spPr>
          <a:xfrm>
            <a:off x="3998588" y="2849205"/>
            <a:ext cx="1829147" cy="1817143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23" name="Нижний колонтитул 2"/>
          <p:cNvSpPr>
            <a:spLocks noGrp="1"/>
          </p:cNvSpPr>
          <p:nvPr>
            <p:ph type="ftr" sz="quarter" idx="13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4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5CB14863-7F02-428A-B593-504F8941FA4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1"/>
          <p:cNvGrpSpPr>
            <a:grpSpLocks noChangeAspect="1"/>
          </p:cNvGrpSpPr>
          <p:nvPr userDrawn="1"/>
        </p:nvGrpSpPr>
        <p:grpSpPr bwMode="auto">
          <a:xfrm>
            <a:off x="1201738" y="2414588"/>
            <a:ext cx="7326312" cy="2665412"/>
            <a:chOff x="1885967" y="2622509"/>
            <a:chExt cx="6399542" cy="2343289"/>
          </a:xfrm>
        </p:grpSpPr>
        <p:grpSp>
          <p:nvGrpSpPr>
            <p:cNvPr id="5" name="Группа 30"/>
            <p:cNvGrpSpPr>
              <a:grpSpLocks/>
            </p:cNvGrpSpPr>
            <p:nvPr userDrawn="1"/>
          </p:nvGrpSpPr>
          <p:grpSpPr bwMode="auto">
            <a:xfrm>
              <a:off x="1913701" y="2635069"/>
              <a:ext cx="2459976" cy="763419"/>
              <a:chOff x="1913701" y="2635069"/>
              <a:chExt cx="2459976" cy="763419"/>
            </a:xfrm>
          </p:grpSpPr>
          <p:sp>
            <p:nvSpPr>
              <p:cNvPr id="15" name="Line 37"/>
              <p:cNvSpPr>
                <a:spLocks noChangeShapeType="1"/>
              </p:cNvSpPr>
              <p:nvPr/>
            </p:nvSpPr>
            <p:spPr bwMode="auto">
              <a:xfrm flipH="1" flipV="1">
                <a:off x="1913701" y="2637860"/>
                <a:ext cx="1691754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16" name="Line 37"/>
              <p:cNvSpPr>
                <a:spLocks noChangeShapeType="1"/>
              </p:cNvSpPr>
              <p:nvPr/>
            </p:nvSpPr>
            <p:spPr bwMode="auto">
              <a:xfrm flipH="1" flipV="1">
                <a:off x="3605454" y="2635069"/>
                <a:ext cx="768223" cy="763419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  <p:grpSp>
          <p:nvGrpSpPr>
            <p:cNvPr id="6" name="Группа 29"/>
            <p:cNvGrpSpPr>
              <a:grpSpLocks/>
            </p:cNvGrpSpPr>
            <p:nvPr userDrawn="1"/>
          </p:nvGrpSpPr>
          <p:grpSpPr bwMode="auto">
            <a:xfrm>
              <a:off x="1885967" y="4203775"/>
              <a:ext cx="2455814" cy="762023"/>
              <a:chOff x="1885967" y="4203775"/>
              <a:chExt cx="2455814" cy="762023"/>
            </a:xfrm>
          </p:grpSpPr>
          <p:sp>
            <p:nvSpPr>
              <p:cNvPr id="13" name="Line 37"/>
              <p:cNvSpPr>
                <a:spLocks noChangeShapeType="1"/>
              </p:cNvSpPr>
              <p:nvPr/>
            </p:nvSpPr>
            <p:spPr bwMode="auto">
              <a:xfrm flipH="1">
                <a:off x="1885967" y="4965798"/>
                <a:ext cx="1691753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14" name="Line 37"/>
              <p:cNvSpPr>
                <a:spLocks noChangeShapeType="1"/>
              </p:cNvSpPr>
              <p:nvPr/>
            </p:nvSpPr>
            <p:spPr bwMode="auto">
              <a:xfrm flipH="1">
                <a:off x="3580493" y="4203775"/>
                <a:ext cx="761288" cy="762023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  <p:grpSp>
          <p:nvGrpSpPr>
            <p:cNvPr id="7" name="Группа 28"/>
            <p:cNvGrpSpPr>
              <a:grpSpLocks/>
            </p:cNvGrpSpPr>
            <p:nvPr userDrawn="1"/>
          </p:nvGrpSpPr>
          <p:grpSpPr bwMode="auto">
            <a:xfrm>
              <a:off x="5908734" y="4206567"/>
              <a:ext cx="2376775" cy="746671"/>
              <a:chOff x="5908734" y="4206567"/>
              <a:chExt cx="2376775" cy="746671"/>
            </a:xfrm>
          </p:grpSpPr>
          <p:sp>
            <p:nvSpPr>
              <p:cNvPr id="11" name="Line 37"/>
              <p:cNvSpPr>
                <a:spLocks noChangeShapeType="1"/>
              </p:cNvSpPr>
              <p:nvPr/>
            </p:nvSpPr>
            <p:spPr bwMode="auto">
              <a:xfrm>
                <a:off x="6596529" y="4953238"/>
                <a:ext cx="168898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12" name="Line 37"/>
              <p:cNvSpPr>
                <a:spLocks noChangeShapeType="1"/>
              </p:cNvSpPr>
              <p:nvPr/>
            </p:nvSpPr>
            <p:spPr bwMode="auto">
              <a:xfrm>
                <a:off x="5908734" y="4206567"/>
                <a:ext cx="700275" cy="746671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  <p:grpSp>
          <p:nvGrpSpPr>
            <p:cNvPr id="8" name="Группа 27"/>
            <p:cNvGrpSpPr>
              <a:grpSpLocks/>
            </p:cNvGrpSpPr>
            <p:nvPr userDrawn="1"/>
          </p:nvGrpSpPr>
          <p:grpSpPr bwMode="auto">
            <a:xfrm>
              <a:off x="5881000" y="2622509"/>
              <a:ext cx="2401735" cy="791331"/>
              <a:chOff x="5881000" y="2622509"/>
              <a:chExt cx="2401735" cy="791331"/>
            </a:xfrm>
          </p:grpSpPr>
          <p:sp>
            <p:nvSpPr>
              <p:cNvPr id="9" name="Line 37"/>
              <p:cNvSpPr>
                <a:spLocks noChangeShapeType="1"/>
              </p:cNvSpPr>
              <p:nvPr/>
            </p:nvSpPr>
            <p:spPr bwMode="auto">
              <a:xfrm flipV="1">
                <a:off x="6593755" y="2625300"/>
                <a:ext cx="168898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10" name="Line 37"/>
              <p:cNvSpPr>
                <a:spLocks noChangeShapeType="1"/>
              </p:cNvSpPr>
              <p:nvPr/>
            </p:nvSpPr>
            <p:spPr bwMode="auto">
              <a:xfrm flipV="1">
                <a:off x="5881000" y="2622509"/>
                <a:ext cx="715528" cy="791331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5" name="Рисунок 24"/>
          <p:cNvSpPr>
            <a:spLocks noGrp="1"/>
          </p:cNvSpPr>
          <p:nvPr>
            <p:ph type="pic" sz="quarter" idx="12"/>
          </p:nvPr>
        </p:nvSpPr>
        <p:spPr>
          <a:xfrm>
            <a:off x="3998588" y="2849205"/>
            <a:ext cx="1829147" cy="1817143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17" name="Нижний колонтитул 2"/>
          <p:cNvSpPr>
            <a:spLocks noGrp="1"/>
          </p:cNvSpPr>
          <p:nvPr>
            <p:ph type="ftr" sz="quarter" idx="13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9D488F62-EA2C-43E2-BC64-194EA457F11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0" y="1303049"/>
            <a:ext cx="9906000" cy="4450320"/>
          </a:xfrm>
        </p:spPr>
        <p:txBody>
          <a:bodyPr lIns="71995"/>
          <a:lstStyle/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3"/>
          </p:nvPr>
        </p:nvSpPr>
        <p:spPr>
          <a:xfrm>
            <a:off x="718534" y="5760051"/>
            <a:ext cx="8514457" cy="48069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524" baseline="0">
                <a:solidFill>
                  <a:schemeClr val="accent3"/>
                </a:solidFill>
              </a:defRPr>
            </a:lvl1pPr>
            <a:lvl2pPr>
              <a:spcBef>
                <a:spcPts val="0"/>
              </a:spcBef>
              <a:buClr>
                <a:schemeClr val="accent3"/>
              </a:buClr>
              <a:defRPr sz="1333" baseline="0"/>
            </a:lvl2pPr>
            <a:lvl3pPr marL="1226287" indent="-272130">
              <a:spcBef>
                <a:spcPts val="0"/>
              </a:spcBef>
              <a:buClr>
                <a:schemeClr val="accent3"/>
              </a:buClr>
              <a:buFont typeface="Arial" pitchFamily="34" charset="0"/>
              <a:buChar char="•"/>
              <a:defRPr sz="1333" baseline="0"/>
            </a:lvl3pPr>
            <a:lvl4pPr marL="1431234" indent="0">
              <a:buNone/>
              <a:defRPr/>
            </a:lvl4pPr>
            <a:lvl5pPr marL="1908311" indent="0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4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A17ACDB7-A484-42A5-8678-3ADB14002B1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1203540" y="1508881"/>
            <a:ext cx="3244148" cy="1988571"/>
          </a:xfrm>
        </p:spPr>
        <p:txBody>
          <a:bodyPr lIns="71995"/>
          <a:lstStyle/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5414497" y="1508788"/>
            <a:ext cx="3244148" cy="1988571"/>
          </a:xfrm>
        </p:spPr>
        <p:txBody>
          <a:bodyPr lIns="71995"/>
          <a:lstStyle/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11" name="Рисунок 5"/>
          <p:cNvSpPr>
            <a:spLocks noGrp="1"/>
          </p:cNvSpPr>
          <p:nvPr>
            <p:ph type="pic" sz="quarter" idx="14"/>
          </p:nvPr>
        </p:nvSpPr>
        <p:spPr>
          <a:xfrm>
            <a:off x="1207218" y="3837768"/>
            <a:ext cx="3244148" cy="1988571"/>
          </a:xfrm>
        </p:spPr>
        <p:txBody>
          <a:bodyPr lIns="71995"/>
          <a:lstStyle/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12" name="Рисунок 5"/>
          <p:cNvSpPr>
            <a:spLocks noGrp="1"/>
          </p:cNvSpPr>
          <p:nvPr>
            <p:ph type="pic" sz="quarter" idx="15"/>
          </p:nvPr>
        </p:nvSpPr>
        <p:spPr>
          <a:xfrm>
            <a:off x="5418176" y="3837674"/>
            <a:ext cx="3244148" cy="1988571"/>
          </a:xfrm>
        </p:spPr>
        <p:txBody>
          <a:bodyPr lIns="71995"/>
          <a:lstStyle/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/>
          </p:nvPr>
        </p:nvSpPr>
        <p:spPr>
          <a:xfrm>
            <a:off x="1225125" y="3509481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/>
          </p:nvPr>
        </p:nvSpPr>
        <p:spPr>
          <a:xfrm>
            <a:off x="5421687" y="3509055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18"/>
          </p:nvPr>
        </p:nvSpPr>
        <p:spPr>
          <a:xfrm>
            <a:off x="1225268" y="5858245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9"/>
          </p:nvPr>
        </p:nvSpPr>
        <p:spPr>
          <a:xfrm>
            <a:off x="5421830" y="5857821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Нижний колонтитул 2"/>
          <p:cNvSpPr>
            <a:spLocks noGrp="1"/>
          </p:cNvSpPr>
          <p:nvPr>
            <p:ph type="ftr" sz="quarter" idx="20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" name="Номер слайда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2AE50E10-F115-4060-B62C-B9AF0724C4F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850223" y="1508881"/>
            <a:ext cx="2506883" cy="1954286"/>
          </a:xfrm>
        </p:spPr>
        <p:txBody>
          <a:bodyPr lIns="71995"/>
          <a:lstStyle/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6504212" y="1508787"/>
            <a:ext cx="2506883" cy="1954286"/>
          </a:xfrm>
        </p:spPr>
        <p:txBody>
          <a:bodyPr lIns="71995"/>
          <a:lstStyle/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/>
          </p:nvPr>
        </p:nvSpPr>
        <p:spPr>
          <a:xfrm>
            <a:off x="847601" y="3473195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20"/>
          </p:nvPr>
        </p:nvSpPr>
        <p:spPr>
          <a:xfrm>
            <a:off x="3675208" y="1508787"/>
            <a:ext cx="2506883" cy="1954286"/>
          </a:xfrm>
        </p:spPr>
        <p:txBody>
          <a:bodyPr lIns="71995"/>
          <a:lstStyle/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1"/>
          </p:nvPr>
        </p:nvSpPr>
        <p:spPr>
          <a:xfrm>
            <a:off x="3673897" y="3473389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2"/>
          </p:nvPr>
        </p:nvSpPr>
        <p:spPr>
          <a:xfrm>
            <a:off x="6500195" y="3473389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0" name="Рисунок 5"/>
          <p:cNvSpPr>
            <a:spLocks noGrp="1"/>
          </p:cNvSpPr>
          <p:nvPr>
            <p:ph type="pic" sz="quarter" idx="23"/>
          </p:nvPr>
        </p:nvSpPr>
        <p:spPr>
          <a:xfrm>
            <a:off x="858379" y="3880847"/>
            <a:ext cx="2506883" cy="1954286"/>
          </a:xfrm>
        </p:spPr>
        <p:txBody>
          <a:bodyPr lIns="71995"/>
          <a:lstStyle/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24"/>
          </p:nvPr>
        </p:nvSpPr>
        <p:spPr>
          <a:xfrm>
            <a:off x="6512368" y="3880752"/>
            <a:ext cx="2506883" cy="1954286"/>
          </a:xfrm>
        </p:spPr>
        <p:txBody>
          <a:bodyPr lIns="71995"/>
          <a:lstStyle/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5"/>
          </p:nvPr>
        </p:nvSpPr>
        <p:spPr>
          <a:xfrm>
            <a:off x="855757" y="5845161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3" name="Рисунок 5"/>
          <p:cNvSpPr>
            <a:spLocks noGrp="1"/>
          </p:cNvSpPr>
          <p:nvPr>
            <p:ph type="pic" sz="quarter" idx="26"/>
          </p:nvPr>
        </p:nvSpPr>
        <p:spPr>
          <a:xfrm>
            <a:off x="3683365" y="3880752"/>
            <a:ext cx="2506883" cy="1954286"/>
          </a:xfrm>
        </p:spPr>
        <p:txBody>
          <a:bodyPr lIns="71995"/>
          <a:lstStyle/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24" name="Текст 12"/>
          <p:cNvSpPr>
            <a:spLocks noGrp="1"/>
          </p:cNvSpPr>
          <p:nvPr>
            <p:ph type="body" sz="quarter" idx="27"/>
          </p:nvPr>
        </p:nvSpPr>
        <p:spPr>
          <a:xfrm>
            <a:off x="3682053" y="5845356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5" name="Текст 12"/>
          <p:cNvSpPr>
            <a:spLocks noGrp="1"/>
          </p:cNvSpPr>
          <p:nvPr>
            <p:ph type="body" sz="quarter" idx="28"/>
          </p:nvPr>
        </p:nvSpPr>
        <p:spPr>
          <a:xfrm>
            <a:off x="6508351" y="5845356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Нижний колонтитул 2"/>
          <p:cNvSpPr>
            <a:spLocks noGrp="1"/>
          </p:cNvSpPr>
          <p:nvPr>
            <p:ph type="ftr" sz="quarter" idx="29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" name="Номер слайда 3"/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8636F876-1C09-42C4-AF3A-49737280530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1223668" y="1508881"/>
            <a:ext cx="2123885" cy="1440160"/>
          </a:xfrm>
        </p:spPr>
        <p:txBody>
          <a:bodyPr lIns="71995"/>
          <a:lstStyle/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6263010" y="1508787"/>
            <a:ext cx="2123885" cy="1440160"/>
          </a:xfrm>
        </p:spPr>
        <p:txBody>
          <a:bodyPr lIns="71995"/>
          <a:lstStyle/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20"/>
          </p:nvPr>
        </p:nvSpPr>
        <p:spPr>
          <a:xfrm>
            <a:off x="3743339" y="1508787"/>
            <a:ext cx="2123885" cy="1440160"/>
          </a:xfrm>
        </p:spPr>
        <p:txBody>
          <a:bodyPr lIns="71995"/>
          <a:lstStyle/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20" name="Рисунок 5"/>
          <p:cNvSpPr>
            <a:spLocks noGrp="1"/>
          </p:cNvSpPr>
          <p:nvPr>
            <p:ph type="pic" sz="quarter" idx="23"/>
          </p:nvPr>
        </p:nvSpPr>
        <p:spPr>
          <a:xfrm>
            <a:off x="1231824" y="3085889"/>
            <a:ext cx="2123885" cy="1440160"/>
          </a:xfrm>
        </p:spPr>
        <p:txBody>
          <a:bodyPr lIns="71995"/>
          <a:lstStyle/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24"/>
          </p:nvPr>
        </p:nvSpPr>
        <p:spPr>
          <a:xfrm>
            <a:off x="6271167" y="3085794"/>
            <a:ext cx="2123885" cy="1440160"/>
          </a:xfrm>
        </p:spPr>
        <p:txBody>
          <a:bodyPr lIns="71995"/>
          <a:lstStyle/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23" name="Рисунок 5"/>
          <p:cNvSpPr>
            <a:spLocks noGrp="1"/>
          </p:cNvSpPr>
          <p:nvPr>
            <p:ph type="pic" sz="quarter" idx="26"/>
          </p:nvPr>
        </p:nvSpPr>
        <p:spPr>
          <a:xfrm>
            <a:off x="3751496" y="3085794"/>
            <a:ext cx="2123885" cy="1440160"/>
          </a:xfrm>
        </p:spPr>
        <p:txBody>
          <a:bodyPr lIns="71995"/>
          <a:lstStyle/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26" name="Рисунок 5"/>
          <p:cNvSpPr>
            <a:spLocks noGrp="1"/>
          </p:cNvSpPr>
          <p:nvPr>
            <p:ph type="pic" sz="quarter" idx="27"/>
          </p:nvPr>
        </p:nvSpPr>
        <p:spPr>
          <a:xfrm>
            <a:off x="1241377" y="4662896"/>
            <a:ext cx="2123885" cy="1440160"/>
          </a:xfrm>
        </p:spPr>
        <p:txBody>
          <a:bodyPr lIns="71995"/>
          <a:lstStyle/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27" name="Рисунок 5"/>
          <p:cNvSpPr>
            <a:spLocks noGrp="1"/>
          </p:cNvSpPr>
          <p:nvPr>
            <p:ph type="pic" sz="quarter" idx="28"/>
          </p:nvPr>
        </p:nvSpPr>
        <p:spPr>
          <a:xfrm>
            <a:off x="6280720" y="4662802"/>
            <a:ext cx="2123885" cy="1440160"/>
          </a:xfrm>
        </p:spPr>
        <p:txBody>
          <a:bodyPr lIns="71995"/>
          <a:lstStyle/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28" name="Рисунок 5"/>
          <p:cNvSpPr>
            <a:spLocks noGrp="1"/>
          </p:cNvSpPr>
          <p:nvPr>
            <p:ph type="pic" sz="quarter" idx="29"/>
          </p:nvPr>
        </p:nvSpPr>
        <p:spPr>
          <a:xfrm>
            <a:off x="3761048" y="4662802"/>
            <a:ext cx="2123885" cy="1440160"/>
          </a:xfrm>
        </p:spPr>
        <p:txBody>
          <a:bodyPr lIns="71995"/>
          <a:lstStyle/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12" name="Нижний колонтитул 2"/>
          <p:cNvSpPr>
            <a:spLocks noGrp="1"/>
          </p:cNvSpPr>
          <p:nvPr>
            <p:ph type="ftr" sz="quarter" idx="30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1441F9E5-B776-436F-8F68-42D3470C9CC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5335C3E-F576-464E-875E-735CE016E67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28"/>
            <a:ext cx="8420100" cy="1362075"/>
          </a:xfrm>
        </p:spPr>
        <p:txBody>
          <a:bodyPr anchor="t"/>
          <a:lstStyle>
            <a:lvl1pPr algn="l">
              <a:defRPr sz="4191" b="1" cap="all">
                <a:solidFill>
                  <a:srgbClr val="0D6186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95">
                <a:solidFill>
                  <a:schemeClr val="accent4"/>
                </a:solidFill>
              </a:defRPr>
            </a:lvl1pPr>
            <a:lvl2pPr marL="477078" indent="0">
              <a:buNone/>
              <a:defRPr sz="1905"/>
            </a:lvl2pPr>
            <a:lvl3pPr marL="954155" indent="0">
              <a:buNone/>
              <a:defRPr sz="1714"/>
            </a:lvl3pPr>
            <a:lvl4pPr marL="1431234" indent="0">
              <a:buNone/>
              <a:defRPr sz="1429"/>
            </a:lvl4pPr>
            <a:lvl5pPr marL="1908311" indent="0">
              <a:buNone/>
              <a:defRPr sz="1429"/>
            </a:lvl5pPr>
            <a:lvl6pPr marL="2385390" indent="0">
              <a:buNone/>
              <a:defRPr sz="1429"/>
            </a:lvl6pPr>
            <a:lvl7pPr marL="2862468" indent="0">
              <a:buNone/>
              <a:defRPr sz="1429"/>
            </a:lvl7pPr>
            <a:lvl8pPr marL="3339546" indent="0">
              <a:buNone/>
              <a:defRPr sz="1429"/>
            </a:lvl8pPr>
            <a:lvl9pPr marL="3816624" indent="0">
              <a:buNone/>
              <a:defRPr sz="1429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7AD2A384-FF1B-4E66-8C8C-F7852C9C551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36C98EF-6D43-478E-A7E8-D924208A4F2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CB6BDB8-6649-41CB-9802-254A4461068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A8A810D-95BC-4CF4-966C-AA447668C2C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89E96082-7C47-4274-892B-3C9164B0233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5F9E354-5B81-4AC4-9912-3BBC6C9A4DD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8F624D9B-6118-4D74-A848-116D7899EC9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130E8C1-1064-40F6-B3F7-A2451470BA2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C4D60658-16B9-475A-96A9-23B7490343F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624ADE8-CB99-4B8B-8D33-5E8B45FAB0F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54" y="1125539"/>
            <a:ext cx="4480057" cy="5148262"/>
          </a:xfrm>
        </p:spPr>
        <p:txBody>
          <a:bodyPr/>
          <a:lstStyle>
            <a:lvl1pPr>
              <a:defRPr sz="2952"/>
            </a:lvl1pPr>
            <a:lvl2pPr>
              <a:defRPr sz="2476"/>
            </a:lvl2pPr>
            <a:lvl3pPr>
              <a:defRPr sz="2095">
                <a:latin typeface="Microsoft Sans Serif"/>
                <a:cs typeface="Microsoft Sans Serif"/>
              </a:defRPr>
            </a:lvl3pPr>
            <a:lvl4pPr>
              <a:defRPr sz="1905">
                <a:latin typeface="Microsoft Sans Serif"/>
                <a:cs typeface="Microsoft Sans Serif"/>
              </a:defRPr>
            </a:lvl4pPr>
            <a:lvl5pPr>
              <a:defRPr sz="1905">
                <a:latin typeface="Microsoft Sans Serif"/>
                <a:cs typeface="Microsoft Sans Serif"/>
              </a:defRPr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10" y="1125539"/>
            <a:ext cx="4481777" cy="5148262"/>
          </a:xfrm>
        </p:spPr>
        <p:txBody>
          <a:bodyPr/>
          <a:lstStyle>
            <a:lvl1pPr>
              <a:defRPr sz="2952"/>
            </a:lvl1pPr>
            <a:lvl2pPr>
              <a:defRPr sz="2476"/>
            </a:lvl2pPr>
            <a:lvl3pPr>
              <a:defRPr sz="2095">
                <a:latin typeface="Microsoft Sans Serif"/>
                <a:cs typeface="Microsoft Sans Serif"/>
              </a:defRPr>
            </a:lvl3pPr>
            <a:lvl4pPr>
              <a:defRPr sz="1905">
                <a:latin typeface="Microsoft Sans Serif"/>
                <a:cs typeface="Microsoft Sans Serif"/>
              </a:defRPr>
            </a:lvl4pPr>
            <a:lvl5pPr>
              <a:defRPr sz="1905">
                <a:latin typeface="Microsoft Sans Serif"/>
                <a:cs typeface="Microsoft Sans Serif"/>
              </a:defRPr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FBB0E3C6-A8B0-4B10-ACE5-10D470AC9A0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17A0ED7B-FE0E-4FE2-80E6-61F9056BB0E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B9A0AE5-B191-4FA2-A983-3F6E85C53F1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3986682-D1AC-40A3-B228-40F3D688062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928DD34-6F26-4F95-A01E-1EC941C1AB9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BF89E93-DF8B-45BE-A39E-C483DFA8482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9E316CA1-E8C6-4C24-852B-4054D69B2CC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F299234-BDCF-4EF0-8DC0-330A6207F27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CCD1C1A1-FCD5-4737-9C67-57307361715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5E8A7C5-34C6-4864-A769-1B5723AF507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25813B5D-CEF8-4804-B9BF-A673494B781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2" y="1535113"/>
            <a:ext cx="4376870" cy="639762"/>
          </a:xfrm>
        </p:spPr>
        <p:txBody>
          <a:bodyPr anchor="b"/>
          <a:lstStyle>
            <a:lvl1pPr marL="0" indent="0">
              <a:buNone/>
              <a:defRPr sz="2476" b="1"/>
            </a:lvl1pPr>
            <a:lvl2pPr marL="477078" indent="0">
              <a:buNone/>
              <a:defRPr sz="2095" b="1"/>
            </a:lvl2pPr>
            <a:lvl3pPr marL="954155" indent="0">
              <a:buNone/>
              <a:defRPr sz="1905" b="1"/>
            </a:lvl3pPr>
            <a:lvl4pPr marL="1431234" indent="0">
              <a:buNone/>
              <a:defRPr sz="1714" b="1"/>
            </a:lvl4pPr>
            <a:lvl5pPr marL="1908311" indent="0">
              <a:buNone/>
              <a:defRPr sz="1714" b="1"/>
            </a:lvl5pPr>
            <a:lvl6pPr marL="2385390" indent="0">
              <a:buNone/>
              <a:defRPr sz="1714" b="1"/>
            </a:lvl6pPr>
            <a:lvl7pPr marL="2862468" indent="0">
              <a:buNone/>
              <a:defRPr sz="1714" b="1"/>
            </a:lvl7pPr>
            <a:lvl8pPr marL="3339546" indent="0">
              <a:buNone/>
              <a:defRPr sz="1714" b="1"/>
            </a:lvl8pPr>
            <a:lvl9pPr marL="3816624" indent="0">
              <a:buNone/>
              <a:defRPr sz="1714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2" y="2174875"/>
            <a:ext cx="4376870" cy="3951288"/>
          </a:xfrm>
        </p:spPr>
        <p:txBody>
          <a:bodyPr/>
          <a:lstStyle>
            <a:lvl1pPr>
              <a:defRPr sz="2476"/>
            </a:lvl1pPr>
            <a:lvl2pPr>
              <a:defRPr sz="2095"/>
            </a:lvl2pPr>
            <a:lvl3pPr>
              <a:defRPr sz="1905">
                <a:latin typeface="Microsoft Sans Serif"/>
                <a:cs typeface="Microsoft Sans Serif"/>
              </a:defRPr>
            </a:lvl3pPr>
            <a:lvl4pPr>
              <a:defRPr sz="1714">
                <a:latin typeface="Microsoft Sans Serif"/>
                <a:cs typeface="Microsoft Sans Serif"/>
              </a:defRPr>
            </a:lvl4pPr>
            <a:lvl5pPr>
              <a:defRPr sz="1714">
                <a:latin typeface="Microsoft Sans Serif"/>
                <a:cs typeface="Microsoft Sans Serif"/>
              </a:defRPr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6" y="1535113"/>
            <a:ext cx="4378589" cy="639762"/>
          </a:xfrm>
        </p:spPr>
        <p:txBody>
          <a:bodyPr anchor="b"/>
          <a:lstStyle>
            <a:lvl1pPr marL="0" indent="0">
              <a:buNone/>
              <a:defRPr sz="2476" b="1"/>
            </a:lvl1pPr>
            <a:lvl2pPr marL="477078" indent="0">
              <a:buNone/>
              <a:defRPr sz="2095" b="1"/>
            </a:lvl2pPr>
            <a:lvl3pPr marL="954155" indent="0">
              <a:buNone/>
              <a:defRPr sz="1905" b="1"/>
            </a:lvl3pPr>
            <a:lvl4pPr marL="1431234" indent="0">
              <a:buNone/>
              <a:defRPr sz="1714" b="1"/>
            </a:lvl4pPr>
            <a:lvl5pPr marL="1908311" indent="0">
              <a:buNone/>
              <a:defRPr sz="1714" b="1"/>
            </a:lvl5pPr>
            <a:lvl6pPr marL="2385390" indent="0">
              <a:buNone/>
              <a:defRPr sz="1714" b="1"/>
            </a:lvl6pPr>
            <a:lvl7pPr marL="2862468" indent="0">
              <a:buNone/>
              <a:defRPr sz="1714" b="1"/>
            </a:lvl7pPr>
            <a:lvl8pPr marL="3339546" indent="0">
              <a:buNone/>
              <a:defRPr sz="1714" b="1"/>
            </a:lvl8pPr>
            <a:lvl9pPr marL="3816624" indent="0">
              <a:buNone/>
              <a:defRPr sz="171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6" y="2174875"/>
            <a:ext cx="4378589" cy="3951288"/>
          </a:xfrm>
        </p:spPr>
        <p:txBody>
          <a:bodyPr/>
          <a:lstStyle>
            <a:lvl1pPr>
              <a:defRPr sz="2476"/>
            </a:lvl1pPr>
            <a:lvl2pPr>
              <a:defRPr sz="2095"/>
            </a:lvl2pPr>
            <a:lvl3pPr>
              <a:defRPr sz="1905">
                <a:latin typeface="Microsoft Sans Serif"/>
                <a:cs typeface="Microsoft Sans Serif"/>
              </a:defRPr>
            </a:lvl3pPr>
            <a:lvl4pPr>
              <a:defRPr sz="1714">
                <a:latin typeface="Microsoft Sans Serif"/>
                <a:cs typeface="Microsoft Sans Serif"/>
              </a:defRPr>
            </a:lvl4pPr>
            <a:lvl5pPr>
              <a:defRPr sz="1714">
                <a:latin typeface="Microsoft Sans Serif"/>
                <a:cs typeface="Microsoft Sans Serif"/>
              </a:defRPr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5C2ED91D-B26F-4B26-80C7-0924F6E125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 txBox="1">
            <a:spLocks/>
          </p:cNvSpPr>
          <p:nvPr userDrawn="1"/>
        </p:nvSpPr>
        <p:spPr>
          <a:xfrm>
            <a:off x="9412288" y="6826250"/>
            <a:ext cx="190500" cy="133350"/>
          </a:xfrm>
          <a:prstGeom prst="flowChartProcess">
            <a:avLst/>
          </a:prstGeom>
        </p:spPr>
        <p:txBody>
          <a:bodyPr wrap="none" lIns="0" tIns="0" rIns="0" bIns="0"/>
          <a:lstStyle/>
          <a:p>
            <a:pPr algn="r" defTabSz="872786">
              <a:defRPr/>
            </a:pPr>
            <a:r>
              <a:rPr lang="en-US" sz="816" dirty="0">
                <a:solidFill>
                  <a:srgbClr val="414142"/>
                </a:solidFill>
                <a:latin typeface="+mn-lt"/>
                <a:cs typeface="+mn-cs"/>
              </a:rPr>
              <a:t>‹#›</a:t>
            </a:r>
          </a:p>
          <a:p>
            <a:pPr algn="r" defTabSz="872786">
              <a:defRPr/>
            </a:pPr>
            <a:endParaRPr lang="en-US" sz="816" dirty="0">
              <a:solidFill>
                <a:srgbClr val="414142"/>
              </a:solidFill>
              <a:latin typeface="+mn-lt"/>
              <a:cs typeface="+mn-cs"/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>
              <a:defRPr/>
            </a:pPr>
            <a:fld id="{D8653AFB-FF70-4980-91EA-CE7FDC66AEC4}" type="slidenum">
              <a:rPr lang="en-US" sz="1020" smtClean="0">
                <a:solidFill>
                  <a:srgbClr val="414142"/>
                </a:solidFill>
                <a:cs typeface="+mn-cs"/>
              </a:rPr>
              <a:pPr defTabSz="914400">
                <a:defRPr/>
              </a:pPr>
              <a:t>‹#›</a:t>
            </a:fld>
            <a:endParaRPr lang="en-US" sz="1020" dirty="0">
              <a:solidFill>
                <a:srgbClr val="414142"/>
              </a:solidFill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1256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2425"/>
            <a:ext cx="73853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15073" name="think-cell Slide" r:id="rId4" imgW="360" imgH="360" progId="">
              <p:embed/>
            </p:oleObj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917825" y="349250"/>
            <a:ext cx="1011238" cy="14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918" b="1" dirty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hangingPunct="1">
              <a:defRPr/>
            </a:pPr>
            <a:endParaRPr lang="ru-RU" sz="816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917825" y="508000"/>
            <a:ext cx="3260725" cy="14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18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18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917825" y="668338"/>
            <a:ext cx="2868613" cy="141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18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18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0913" y="5027613"/>
            <a:ext cx="5456237" cy="223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428" dirty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0913" y="5305425"/>
            <a:ext cx="5456237" cy="223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428" dirty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9902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 wrap="none" anchor="ctr"/>
          <a:lstStyle/>
          <a:p>
            <a:pPr defTabSz="932962">
              <a:defRPr/>
            </a:pPr>
            <a:endParaRPr lang="ru-RU" sz="1632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567113" y="4618038"/>
            <a:ext cx="6338887" cy="2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4288" y="193675"/>
            <a:ext cx="9888537" cy="188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081963" y="276225"/>
            <a:ext cx="1662112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2" y="3175997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2" y="3945699"/>
            <a:ext cx="5455757" cy="219820"/>
          </a:xfrm>
        </p:spPr>
        <p:txBody>
          <a:bodyPr/>
          <a:lstStyle>
            <a:lvl1pPr>
              <a:defRPr sz="1428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/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213" cy="161925"/>
        </p:xfrm>
        <a:graphic>
          <a:graphicData uri="http://schemas.openxmlformats.org/presentationml/2006/ole">
            <p:oleObj spid="_x0000_s516097" name="think-cell Slide" r:id="rId4" imgW="360" imgH="360" progId="">
              <p:embed/>
            </p:oleObj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63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39700" y="119063"/>
            <a:ext cx="11080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fld id="{17F991D2-AF33-4751-ABF3-90009451F806}" type="slidenum">
              <a:rPr lang="en-US" sz="1020" smtClean="0">
                <a:solidFill>
                  <a:srgbClr val="000000"/>
                </a:solidFill>
                <a:cs typeface="+mn-cs"/>
              </a:rPr>
              <a:pPr defTabSz="932962">
                <a:defRPr/>
              </a:pPr>
              <a:t>‹#›</a:t>
            </a:fld>
            <a:endParaRPr lang="en-US" sz="102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213" cy="161925"/>
        </p:xfrm>
        <a:graphic>
          <a:graphicData uri="http://schemas.openxmlformats.org/presentationml/2006/ole">
            <p:oleObj spid="_x0000_s518145" name="think-cell Slide" r:id="rId4" imgW="360" imgH="360" progId="">
              <p:embed/>
            </p:oleObj>
          </a:graphicData>
        </a:graphic>
      </p:graphicFrame>
      <p:sp>
        <p:nvSpPr>
          <p:cNvPr id="3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63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7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8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4" name="navigation8" descr="ujkm,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39700" y="119063"/>
            <a:ext cx="11080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Дата 1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912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17" name="Нижний колонтитул 2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912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18" name="Номер слайда 3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912">
                <a:latin typeface="+mn-lt"/>
                <a:cs typeface="+mn-cs"/>
              </a:defRPr>
            </a:lvl1pPr>
          </a:lstStyle>
          <a:p>
            <a:pPr>
              <a:defRPr/>
            </a:pPr>
            <a:fld id="{15A834B9-FD67-4659-B072-B1473CD7BC8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213" cy="161925"/>
        </p:xfrm>
        <a:graphic>
          <a:graphicData uri="http://schemas.openxmlformats.org/presentationml/2006/ole">
            <p:oleObj spid="_x0000_s519169" name="think-cell Slide" r:id="rId4" imgW="360" imgH="360" progId="">
              <p:embed/>
            </p:oleObj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63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9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0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1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6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7" name="navigation8" descr="ujkm,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4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39700" y="119063"/>
            <a:ext cx="11080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Slide Number Placeholder 5" hidden="1"/>
          <p:cNvSpPr txBox="1">
            <a:spLocks/>
          </p:cNvSpPr>
          <p:nvPr userDrawn="1"/>
        </p:nvSpPr>
        <p:spPr>
          <a:xfrm>
            <a:off x="9412288" y="6826250"/>
            <a:ext cx="190500" cy="133350"/>
          </a:xfrm>
          <a:prstGeom prst="flowChartProcess">
            <a:avLst/>
          </a:prstGeom>
        </p:spPr>
        <p:txBody>
          <a:bodyPr wrap="none" lIns="0" tIns="0" rIns="0" bIns="0"/>
          <a:lstStyle/>
          <a:p>
            <a:pPr algn="r" defTabSz="872702">
              <a:defRPr/>
            </a:pPr>
            <a:r>
              <a:rPr lang="en-US" sz="831" dirty="0">
                <a:solidFill>
                  <a:srgbClr val="414142"/>
                </a:solidFill>
                <a:latin typeface="+mn-lt"/>
                <a:cs typeface="+mn-cs"/>
              </a:rPr>
              <a:t>‹#›</a:t>
            </a:r>
          </a:p>
          <a:p>
            <a:pPr algn="r" defTabSz="872702">
              <a:defRPr/>
            </a:pPr>
            <a:endParaRPr lang="en-US" sz="831" dirty="0">
              <a:solidFill>
                <a:srgbClr val="414142"/>
              </a:solidFill>
              <a:latin typeface="+mn-lt"/>
              <a:cs typeface="+mn-cs"/>
            </a:endParaRPr>
          </a:p>
        </p:txBody>
      </p:sp>
      <p:sp>
        <p:nvSpPr>
          <p:cNvPr id="20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32971">
              <a:defRPr/>
            </a:pPr>
            <a:fld id="{1D81FE77-3C7E-469C-A7B9-6950E3A5B9E5}" type="slidenum">
              <a:rPr lang="en-US" sz="692" smtClean="0">
                <a:solidFill>
                  <a:srgbClr val="000000"/>
                </a:solidFill>
                <a:cs typeface="+mn-cs"/>
              </a:rPr>
              <a:pPr defTabSz="632971">
                <a:defRPr/>
              </a:pPr>
              <a:t>‹#›</a:t>
            </a:fld>
            <a:endParaRPr lang="en-US" sz="69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12784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/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20193" name="think-cell Slide" r:id="rId4" imgW="360" imgH="360" progId="">
              <p:embed/>
            </p:oleObj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917825" y="349250"/>
            <a:ext cx="1016000" cy="142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923" b="1" dirty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hangingPunct="1">
              <a:defRPr/>
            </a:pPr>
            <a:endParaRPr lang="ru-RU" sz="831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917825" y="508000"/>
            <a:ext cx="3290888" cy="142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23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23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917825" y="668338"/>
            <a:ext cx="2895600" cy="142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23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23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0913" y="5033963"/>
            <a:ext cx="5456237" cy="217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385" dirty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0913" y="5305425"/>
            <a:ext cx="5456237" cy="217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385" dirty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9902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 wrap="none" lIns="90216" tIns="45108" rIns="90216" bIns="45108" anchor="ctr"/>
          <a:lstStyle/>
          <a:p>
            <a:pPr defTabSz="932962">
              <a:defRPr/>
            </a:pPr>
            <a:endParaRPr lang="ru-RU" sz="1569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567113" y="4618038"/>
            <a:ext cx="6338887" cy="2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4288" y="193675"/>
            <a:ext cx="9888537" cy="188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081963" y="276225"/>
            <a:ext cx="1662112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85775"/>
            <a:ext cx="5455757" cy="482889"/>
          </a:xfrm>
          <a:prstGeom prst="rect">
            <a:avLst/>
          </a:prstGeom>
        </p:spPr>
        <p:txBody>
          <a:bodyPr/>
          <a:lstStyle>
            <a:lvl1pPr>
              <a:defRPr sz="3138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7" cy="213082"/>
          </a:xfrm>
        </p:spPr>
        <p:txBody>
          <a:bodyPr/>
          <a:lstStyle>
            <a:lvl1pPr>
              <a:defRPr sz="1385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213" cy="161925"/>
        </p:xfrm>
        <a:graphic>
          <a:graphicData uri="http://schemas.openxmlformats.org/presentationml/2006/ole">
            <p:oleObj spid="_x0000_s521217" name="think-cell Slide" r:id="rId4" imgW="360" imgH="360" progId="">
              <p:embed/>
            </p:oleObj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839201" y="1984375"/>
            <a:ext cx="1979612" cy="84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76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957469" y="4202907"/>
            <a:ext cx="1743075" cy="84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76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49313" cy="214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85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69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2688"/>
            <a:ext cx="9450387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15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/>
          <a:p>
            <a:pPr marL="601404" indent="-601404" defTabSz="883312">
              <a:tabLst>
                <a:tab pos="604536" algn="l"/>
              </a:tabLst>
              <a:defRPr/>
            </a:pPr>
            <a:r>
              <a:rPr lang="ru-RU" sz="1015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57288"/>
            <a:ext cx="4714875" cy="511175"/>
            <a:chOff x="915" y="714"/>
            <a:chExt cx="2686" cy="316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69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69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39700" y="119063"/>
            <a:ext cx="11080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endParaRPr lang="en-US" sz="923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44282"/>
            <a:ext cx="7385392" cy="284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/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213" cy="161925"/>
        </p:xfrm>
        <a:graphic>
          <a:graphicData uri="http://schemas.openxmlformats.org/presentationml/2006/ole">
            <p:oleObj spid="_x0000_s522241" name="think-cell Slide" r:id="rId4" imgW="360" imgH="360" progId="">
              <p:embed/>
            </p:oleObj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839201" y="1984375"/>
            <a:ext cx="1979612" cy="84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76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957469" y="4202907"/>
            <a:ext cx="1743075" cy="84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76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49313" cy="214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85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69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2688"/>
            <a:ext cx="9450387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15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/>
          <a:p>
            <a:pPr marL="601404" indent="-601404" defTabSz="883312">
              <a:tabLst>
                <a:tab pos="604536" algn="l"/>
              </a:tabLst>
              <a:defRPr/>
            </a:pPr>
            <a:r>
              <a:rPr lang="ru-RU" sz="1015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57288"/>
            <a:ext cx="4714875" cy="511175"/>
            <a:chOff x="915" y="714"/>
            <a:chExt cx="2686" cy="316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69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69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39700" y="119063"/>
            <a:ext cx="11080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fld id="{5BE4B27F-BF6D-49B2-8653-C6D7E14001A4}" type="slidenum">
              <a:rPr lang="en-US" sz="923" smtClean="0">
                <a:solidFill>
                  <a:srgbClr val="000000"/>
                </a:solidFill>
                <a:cs typeface="+mn-cs"/>
              </a:rPr>
              <a:pPr defTabSz="932962">
                <a:defRPr/>
              </a:pPr>
              <a:t>‹#›</a:t>
            </a:fld>
            <a:endParaRPr lang="en-US" sz="923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18EEFCAC-6850-48C2-85C6-03B92E85FF0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213" cy="161925"/>
        </p:xfrm>
        <a:graphic>
          <a:graphicData uri="http://schemas.openxmlformats.org/presentationml/2006/ole">
            <p:oleObj spid="_x0000_s523265" name="think-cell Slide" r:id="rId4" imgW="360" imgH="360" progId="">
              <p:embed/>
            </p:oleObj>
          </a:graphicData>
        </a:graphic>
      </p:graphicFrame>
      <p:sp>
        <p:nvSpPr>
          <p:cNvPr id="3" name="Working Draft" hidden="1"/>
          <p:cNvSpPr txBox="1">
            <a:spLocks noChangeArrowheads="1"/>
          </p:cNvSpPr>
          <p:nvPr/>
        </p:nvSpPr>
        <p:spPr bwMode="auto">
          <a:xfrm rot="5400000">
            <a:off x="8839201" y="1984375"/>
            <a:ext cx="1979612" cy="84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76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/>
        </p:nvSpPr>
        <p:spPr bwMode="auto">
          <a:xfrm rot="5400000">
            <a:off x="8957469" y="4202907"/>
            <a:ext cx="1743075" cy="84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76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49313" cy="214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85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69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7" name="McK 4. Footnote" hidden="1"/>
          <p:cNvSpPr txBox="1">
            <a:spLocks noChangeArrowheads="1"/>
          </p:cNvSpPr>
          <p:nvPr/>
        </p:nvSpPr>
        <p:spPr bwMode="auto">
          <a:xfrm>
            <a:off x="131763" y="6262688"/>
            <a:ext cx="9450387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15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8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/>
          <a:p>
            <a:pPr marL="601404" indent="-601404" defTabSz="883312">
              <a:tabLst>
                <a:tab pos="604536" algn="l"/>
              </a:tabLst>
              <a:defRPr/>
            </a:pPr>
            <a:r>
              <a:rPr lang="ru-RU" sz="1015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604963" y="1157288"/>
            <a:ext cx="4714875" cy="511175"/>
            <a:chOff x="915" y="714"/>
            <a:chExt cx="2686" cy="316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69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69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4" name="navigation8" descr="ujkm,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39700" y="119063"/>
            <a:ext cx="11080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2"/>
          <p:cNvSpPr txBox="1"/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defTabSz="932962">
              <a:defRPr/>
            </a:pPr>
            <a:fld id="{A7CC04AA-5B8E-4BC1-9976-1EFBF2584CD8}" type="slidenum">
              <a:rPr lang="ru-RU" sz="1015">
                <a:solidFill>
                  <a:srgbClr val="000000"/>
                </a:solidFill>
                <a:latin typeface="+mn-lt"/>
                <a:cs typeface="+mn-cs"/>
              </a:rPr>
              <a:pPr defTabSz="932962">
                <a:defRPr/>
              </a:pPr>
              <a:t>‹#›</a:t>
            </a:fld>
            <a:endParaRPr lang="ru-RU" sz="1015" dirty="0">
              <a:solidFill>
                <a:srgbClr val="000000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24289" name="think-cell Slide" r:id="rId4" imgW="360" imgH="360" progId="">
              <p:embed/>
            </p:oleObj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917825" y="349250"/>
            <a:ext cx="1011238" cy="14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918" b="1" dirty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hangingPunct="1">
              <a:defRPr/>
            </a:pPr>
            <a:endParaRPr lang="ru-RU" sz="816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917825" y="508000"/>
            <a:ext cx="3260725" cy="14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18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18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917825" y="668338"/>
            <a:ext cx="2868613" cy="141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18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18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0913" y="5027613"/>
            <a:ext cx="5456237" cy="223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428" dirty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0913" y="5305425"/>
            <a:ext cx="5456237" cy="223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428" dirty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9902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 wrap="none" anchor="ctr"/>
          <a:lstStyle/>
          <a:p>
            <a:pPr defTabSz="932962">
              <a:defRPr/>
            </a:pPr>
            <a:endParaRPr lang="ru-RU" sz="1632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567113" y="4618038"/>
            <a:ext cx="6338887" cy="2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4288" y="193675"/>
            <a:ext cx="9888537" cy="188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081963" y="276225"/>
            <a:ext cx="1662112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2" y="3175997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2" y="3945699"/>
            <a:ext cx="5455757" cy="219820"/>
          </a:xfrm>
        </p:spPr>
        <p:txBody>
          <a:bodyPr/>
          <a:lstStyle>
            <a:lvl1pPr>
              <a:defRPr sz="1428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213" cy="161925"/>
        </p:xfrm>
        <a:graphic>
          <a:graphicData uri="http://schemas.openxmlformats.org/presentationml/2006/ole">
            <p:oleObj spid="_x0000_s525313" name="think-cell Slide" r:id="rId4" imgW="360" imgH="360" progId="">
              <p:embed/>
            </p:oleObj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63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39700" y="119063"/>
            <a:ext cx="11080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fld id="{44136301-A9FB-4A85-85B2-A26FB36481CF}" type="slidenum">
              <a:rPr lang="en-US" sz="1020" smtClean="0">
                <a:solidFill>
                  <a:srgbClr val="000000"/>
                </a:solidFill>
                <a:cs typeface="+mn-cs"/>
              </a:rPr>
              <a:pPr defTabSz="932962">
                <a:defRPr/>
              </a:pPr>
              <a:t>‹#›</a:t>
            </a:fld>
            <a:endParaRPr lang="en-US" sz="102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/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213" cy="161925"/>
        </p:xfrm>
        <a:graphic>
          <a:graphicData uri="http://schemas.openxmlformats.org/presentationml/2006/ole">
            <p:oleObj spid="_x0000_s526337" name="think-cell Slide" r:id="rId4" imgW="360" imgH="360" progId="">
              <p:embed/>
            </p:oleObj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63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39700" y="119063"/>
            <a:ext cx="11080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fld id="{351CDD71-4C94-47F9-B708-8AFF704B7DEC}" type="slidenum">
              <a:rPr lang="en-US" sz="1020" smtClean="0">
                <a:solidFill>
                  <a:srgbClr val="000000"/>
                </a:solidFill>
                <a:cs typeface="+mn-cs"/>
              </a:rPr>
              <a:pPr defTabSz="932962">
                <a:defRPr/>
              </a:pPr>
              <a:t>‹#›</a:t>
            </a:fld>
            <a:endParaRPr lang="en-US" sz="102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213" cy="161925"/>
        </p:xfrm>
        <a:graphic>
          <a:graphicData uri="http://schemas.openxmlformats.org/presentationml/2006/ole">
            <p:oleObj spid="_x0000_s527361" name="think-cell Slide" r:id="rId4" imgW="360" imgH="360" progId="">
              <p:embed/>
            </p:oleObj>
          </a:graphicData>
        </a:graphic>
      </p:graphicFrame>
      <p:sp>
        <p:nvSpPr>
          <p:cNvPr id="3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63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7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8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4" name="navigation8" descr="ujkm,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39700" y="119063"/>
            <a:ext cx="11080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2"/>
          <p:cNvSpPr txBox="1"/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defTabSz="932962">
              <a:defRPr/>
            </a:pPr>
            <a:fld id="{86F3A080-F728-407B-9296-557601B1F0D8}" type="slidenum">
              <a:rPr lang="ru-RU" sz="1020">
                <a:solidFill>
                  <a:srgbClr val="000000"/>
                </a:solidFill>
                <a:latin typeface="+mn-lt"/>
                <a:cs typeface="+mn-cs"/>
              </a:rPr>
              <a:pPr defTabSz="932962">
                <a:defRPr/>
              </a:pPr>
              <a:t>‹#›</a:t>
            </a:fld>
            <a:endParaRPr lang="ru-RU" sz="1020" dirty="0">
              <a:solidFill>
                <a:srgbClr val="000000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28385" name="think-cell Slide" r:id="rId4" imgW="360" imgH="360" progId="">
              <p:embed/>
            </p:oleObj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917825" y="349250"/>
            <a:ext cx="993775" cy="139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904" b="1" dirty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hangingPunct="1">
              <a:defRPr/>
            </a:pPr>
            <a:endParaRPr lang="ru-RU" sz="813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917825" y="508000"/>
            <a:ext cx="3200400" cy="139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04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04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917825" y="668338"/>
            <a:ext cx="2814638" cy="139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04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04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0913" y="5038725"/>
            <a:ext cx="5456237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356" dirty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0913" y="5305425"/>
            <a:ext cx="5456237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356" dirty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9902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 wrap="none" lIns="88333" tIns="44166" rIns="88333" bIns="44166" anchor="ctr"/>
          <a:lstStyle/>
          <a:p>
            <a:pPr defTabSz="932962">
              <a:defRPr/>
            </a:pPr>
            <a:endParaRPr lang="ru-RU" sz="1537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567113" y="4618038"/>
            <a:ext cx="6338887" cy="2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4288" y="193675"/>
            <a:ext cx="9888537" cy="188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081963" y="276225"/>
            <a:ext cx="1662112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0750"/>
            <a:ext cx="5455756" cy="472940"/>
          </a:xfrm>
          <a:prstGeom prst="rect">
            <a:avLst/>
          </a:prstGeom>
        </p:spPr>
        <p:txBody>
          <a:bodyPr/>
          <a:lstStyle>
            <a:lvl1pPr>
              <a:defRPr sz="3073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6" cy="208698"/>
          </a:xfrm>
        </p:spPr>
        <p:txBody>
          <a:bodyPr/>
          <a:lstStyle>
            <a:lvl1pPr>
              <a:defRPr sz="1356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/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213" cy="161925"/>
        </p:xfrm>
        <a:graphic>
          <a:graphicData uri="http://schemas.openxmlformats.org/presentationml/2006/ole">
            <p:oleObj spid="_x0000_s529409" name="think-cell Slide" r:id="rId4" imgW="360" imgH="360" progId="">
              <p:embed/>
            </p:oleObj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868569" y="1985169"/>
            <a:ext cx="1920875" cy="84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46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984457" y="4202906"/>
            <a:ext cx="1689100" cy="84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46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27088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56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37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5863"/>
            <a:ext cx="9450387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94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/>
          <a:p>
            <a:pPr marL="588905" indent="-588905" defTabSz="864955">
              <a:tabLst>
                <a:tab pos="591973" algn="l"/>
              </a:tabLst>
              <a:defRPr/>
            </a:pPr>
            <a:r>
              <a:rPr lang="ru-RU" sz="994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66813"/>
            <a:ext cx="4714875" cy="501650"/>
            <a:chOff x="915" y="720"/>
            <a:chExt cx="2686" cy="310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37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37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39700" y="119063"/>
            <a:ext cx="11080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fld id="{FDB3A2C0-C12B-4355-B2C5-8BE002E31238}" type="slidenum">
              <a:rPr lang="en-US" sz="904" smtClean="0">
                <a:solidFill>
                  <a:srgbClr val="000000"/>
                </a:solidFill>
                <a:cs typeface="+mn-cs"/>
              </a:rPr>
              <a:pPr defTabSz="932962">
                <a:defRPr/>
              </a:pPr>
              <a:t>‹#›</a:t>
            </a:fld>
            <a:endParaRPr lang="en-US" sz="904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213" cy="161925"/>
        </p:xfrm>
        <a:graphic>
          <a:graphicData uri="http://schemas.openxmlformats.org/presentationml/2006/ole">
            <p:oleObj spid="_x0000_s530433" name="think-cell Slide" r:id="rId4" imgW="360" imgH="360" progId="">
              <p:embed/>
            </p:oleObj>
          </a:graphicData>
        </a:graphic>
      </p:graphicFrame>
      <p:sp>
        <p:nvSpPr>
          <p:cNvPr id="3" name="Working Draft" hidden="1"/>
          <p:cNvSpPr txBox="1">
            <a:spLocks noChangeArrowheads="1"/>
          </p:cNvSpPr>
          <p:nvPr/>
        </p:nvSpPr>
        <p:spPr bwMode="auto">
          <a:xfrm rot="5400000">
            <a:off x="8868569" y="1985169"/>
            <a:ext cx="1920875" cy="84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46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/>
        </p:nvSpPr>
        <p:spPr bwMode="auto">
          <a:xfrm rot="5400000">
            <a:off x="8984457" y="4202906"/>
            <a:ext cx="1689100" cy="84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46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27088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56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37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7" name="McK 4. Footnote" hidden="1"/>
          <p:cNvSpPr txBox="1">
            <a:spLocks noChangeArrowheads="1"/>
          </p:cNvSpPr>
          <p:nvPr/>
        </p:nvSpPr>
        <p:spPr bwMode="auto">
          <a:xfrm>
            <a:off x="131763" y="6265863"/>
            <a:ext cx="9450387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94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8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/>
          <a:p>
            <a:pPr marL="588905" indent="-588905" defTabSz="864955">
              <a:tabLst>
                <a:tab pos="591973" algn="l"/>
              </a:tabLst>
              <a:defRPr/>
            </a:pPr>
            <a:r>
              <a:rPr lang="ru-RU" sz="994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604963" y="1166813"/>
            <a:ext cx="4714875" cy="501650"/>
            <a:chOff x="915" y="720"/>
            <a:chExt cx="2686" cy="310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37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37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4" name="navigation8" descr="ujkm,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39700" y="119063"/>
            <a:ext cx="11080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2"/>
          <p:cNvSpPr txBox="1"/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defTabSz="932962">
              <a:defRPr/>
            </a:pPr>
            <a:fld id="{F3DA744D-C150-4B46-9ECD-F58E6445E03C}" type="slidenum">
              <a:rPr lang="ru-RU" sz="994">
                <a:solidFill>
                  <a:srgbClr val="000000"/>
                </a:solidFill>
                <a:latin typeface="+mn-lt"/>
                <a:cs typeface="+mn-cs"/>
              </a:rPr>
              <a:pPr defTabSz="932962">
                <a:defRPr/>
              </a:pPr>
              <a:t>‹#›</a:t>
            </a:fld>
            <a:endParaRPr lang="ru-RU" sz="994" dirty="0">
              <a:solidFill>
                <a:srgbClr val="000000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31457" name="think-cell Slide" r:id="rId4" imgW="360" imgH="360" progId="">
              <p:embed/>
            </p:oleObj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917825" y="349250"/>
            <a:ext cx="1011238" cy="14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918" b="1" dirty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hangingPunct="1">
              <a:defRPr/>
            </a:pPr>
            <a:endParaRPr lang="ru-RU" sz="816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917825" y="508000"/>
            <a:ext cx="3260725" cy="14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18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18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917825" y="668338"/>
            <a:ext cx="2868613" cy="141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18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18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0913" y="5027613"/>
            <a:ext cx="5456237" cy="223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428" dirty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0913" y="5305425"/>
            <a:ext cx="5456237" cy="223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428" dirty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9902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 wrap="none" anchor="ctr"/>
          <a:lstStyle/>
          <a:p>
            <a:pPr defTabSz="932962">
              <a:defRPr/>
            </a:pPr>
            <a:endParaRPr lang="ru-RU" sz="1632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567113" y="4618038"/>
            <a:ext cx="6338887" cy="2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4288" y="193675"/>
            <a:ext cx="9888537" cy="188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081963" y="276225"/>
            <a:ext cx="1662112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2" y="3175997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2" y="3945699"/>
            <a:ext cx="5455757" cy="219820"/>
          </a:xfrm>
        </p:spPr>
        <p:txBody>
          <a:bodyPr/>
          <a:lstStyle>
            <a:lvl1pPr>
              <a:defRPr sz="1428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692182C0-E52A-435A-AD90-212E16429B3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213" cy="161925"/>
        </p:xfrm>
        <a:graphic>
          <a:graphicData uri="http://schemas.openxmlformats.org/presentationml/2006/ole">
            <p:oleObj spid="_x0000_s532481" name="think-cell Slide" r:id="rId4" imgW="360" imgH="360" progId="">
              <p:embed/>
            </p:oleObj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63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39700" y="119063"/>
            <a:ext cx="11080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endParaRPr lang="en-US" sz="102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/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213" cy="161925"/>
        </p:xfrm>
        <a:graphic>
          <a:graphicData uri="http://schemas.openxmlformats.org/presentationml/2006/ole">
            <p:oleObj spid="_x0000_s533505" name="think-cell Slide" r:id="rId4" imgW="360" imgH="360" progId="">
              <p:embed/>
            </p:oleObj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63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39700" y="119063"/>
            <a:ext cx="11080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fld id="{D2FD9515-7A35-4ED2-A7CD-7DCE9E5CD1A9}" type="slidenum">
              <a:rPr lang="en-US" sz="1020" smtClean="0">
                <a:solidFill>
                  <a:srgbClr val="000000"/>
                </a:solidFill>
                <a:cs typeface="+mn-cs"/>
              </a:rPr>
              <a:pPr defTabSz="932962">
                <a:defRPr/>
              </a:pPr>
              <a:t>‹#›</a:t>
            </a:fld>
            <a:endParaRPr lang="en-US" sz="102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213" cy="161925"/>
        </p:xfrm>
        <a:graphic>
          <a:graphicData uri="http://schemas.openxmlformats.org/presentationml/2006/ole">
            <p:oleObj spid="_x0000_s534529" name="think-cell Slide" r:id="rId4" imgW="360" imgH="360" progId="">
              <p:embed/>
            </p:oleObj>
          </a:graphicData>
        </a:graphic>
      </p:graphicFrame>
      <p:sp>
        <p:nvSpPr>
          <p:cNvPr id="3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63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7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8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4" name="navigation8" descr="ujkm,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39700" y="119063"/>
            <a:ext cx="11080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2"/>
          <p:cNvSpPr txBox="1"/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defTabSz="932962">
              <a:defRPr/>
            </a:pPr>
            <a:fld id="{B627DC9A-607F-4DA0-9FB7-3FB810D4581F}" type="slidenum">
              <a:rPr lang="ru-RU" sz="1020">
                <a:solidFill>
                  <a:srgbClr val="000000"/>
                </a:solidFill>
                <a:latin typeface="+mn-lt"/>
                <a:cs typeface="+mn-cs"/>
              </a:rPr>
              <a:pPr defTabSz="932962">
                <a:defRPr/>
              </a:pPr>
              <a:t>‹#›</a:t>
            </a:fld>
            <a:endParaRPr lang="ru-RU" sz="1020" dirty="0">
              <a:solidFill>
                <a:srgbClr val="000000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35553" name="think-cell Slide" r:id="rId4" imgW="360" imgH="360" progId="">
              <p:embed/>
            </p:oleObj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917825" y="349250"/>
            <a:ext cx="1030288" cy="142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928" b="1" dirty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hangingPunct="1">
              <a:defRPr/>
            </a:pPr>
            <a:endParaRPr lang="ru-RU" sz="786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917825" y="508000"/>
            <a:ext cx="3295650" cy="142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28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28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917825" y="668338"/>
            <a:ext cx="2901950" cy="142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28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28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0913" y="5027613"/>
            <a:ext cx="5456237" cy="223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428" dirty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0913" y="5305425"/>
            <a:ext cx="5456237" cy="223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428" dirty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9902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 wrap="none" lIns="93273" tIns="46635" rIns="93273" bIns="46635" anchor="ctr"/>
          <a:lstStyle/>
          <a:p>
            <a:pPr defTabSz="932962">
              <a:defRPr/>
            </a:pPr>
            <a:endParaRPr lang="ru-RU" sz="1643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567113" y="4618038"/>
            <a:ext cx="6338887" cy="2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4288" y="193675"/>
            <a:ext cx="9888537" cy="188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081963" y="276225"/>
            <a:ext cx="1662112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4" y="3179907"/>
            <a:ext cx="5455757" cy="494623"/>
          </a:xfrm>
          <a:prstGeom prst="rect">
            <a:avLst/>
          </a:prstGeom>
        </p:spPr>
        <p:txBody>
          <a:bodyPr/>
          <a:lstStyle>
            <a:lvl1pPr>
              <a:defRPr sz="3214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4" y="3945700"/>
            <a:ext cx="5455757" cy="219840"/>
          </a:xfrm>
        </p:spPr>
        <p:txBody>
          <a:bodyPr/>
          <a:lstStyle>
            <a:lvl1pPr>
              <a:defRPr sz="1428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213" cy="161925"/>
        </p:xfrm>
        <a:graphic>
          <a:graphicData uri="http://schemas.openxmlformats.org/presentationml/2006/ole">
            <p:oleObj spid="_x0000_s536577" name="think-cell Slide" r:id="rId4" imgW="360" imgH="360" progId="">
              <p:embed/>
            </p:oleObj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682832" y="1977231"/>
            <a:ext cx="2292350" cy="100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43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143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820944" y="4194969"/>
            <a:ext cx="2016125" cy="100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43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143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63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8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43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75388"/>
            <a:ext cx="9450387" cy="146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28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46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/>
          <a:p>
            <a:pPr marL="621788" indent="-621788" defTabSz="913251">
              <a:tabLst>
                <a:tab pos="625027" algn="l"/>
              </a:tabLst>
              <a:defRPr/>
            </a:pPr>
            <a:r>
              <a:rPr lang="ru-RU" sz="928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33475"/>
            <a:ext cx="4714875" cy="534988"/>
            <a:chOff x="915" y="700"/>
            <a:chExt cx="2686" cy="330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00"/>
              <a:ext cx="2686" cy="33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43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43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73" tIns="93273" rIns="93273" bIns="93273" anchor="ctr"/>
          <a:lstStyle/>
          <a:p>
            <a:pPr defTabSz="932962">
              <a:defRPr/>
            </a:pPr>
            <a:endParaRPr lang="ru-RU" sz="1786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73" tIns="93273" rIns="93273" bIns="93273" anchor="ctr"/>
          <a:lstStyle/>
          <a:p>
            <a:pPr defTabSz="932962">
              <a:defRPr/>
            </a:pPr>
            <a:endParaRPr lang="ru-RU" sz="1786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39700" y="119063"/>
            <a:ext cx="11080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endParaRPr lang="en-US" sz="714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2426"/>
            <a:ext cx="73853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/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6213" cy="161925"/>
        </p:xfrm>
        <a:graphic>
          <a:graphicData uri="http://schemas.openxmlformats.org/presentationml/2006/ole">
            <p:oleObj spid="_x0000_s537601" name="think-cell Slide" r:id="rId4" imgW="360" imgH="360" progId="">
              <p:embed/>
            </p:oleObj>
          </a:graphicData>
        </a:graphic>
      </p:graphicFrame>
      <p:sp>
        <p:nvSpPr>
          <p:cNvPr id="3" name="Working Draft" hidden="1"/>
          <p:cNvSpPr txBox="1">
            <a:spLocks noChangeArrowheads="1"/>
          </p:cNvSpPr>
          <p:nvPr/>
        </p:nvSpPr>
        <p:spPr bwMode="auto">
          <a:xfrm rot="5400000">
            <a:off x="8682832" y="1977231"/>
            <a:ext cx="2292350" cy="100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43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143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/>
        </p:nvSpPr>
        <p:spPr bwMode="auto">
          <a:xfrm rot="5400000">
            <a:off x="8820944" y="4194969"/>
            <a:ext cx="2016125" cy="100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43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143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63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8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43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7" name="McK 4. Footnote" hidden="1"/>
          <p:cNvSpPr txBox="1">
            <a:spLocks noChangeArrowheads="1"/>
          </p:cNvSpPr>
          <p:nvPr/>
        </p:nvSpPr>
        <p:spPr bwMode="auto">
          <a:xfrm>
            <a:off x="131763" y="6275388"/>
            <a:ext cx="9450387" cy="146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28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8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46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/>
          <a:p>
            <a:pPr marL="621788" indent="-621788" defTabSz="913251">
              <a:tabLst>
                <a:tab pos="625027" algn="l"/>
              </a:tabLst>
              <a:defRPr/>
            </a:pPr>
            <a:r>
              <a:rPr lang="ru-RU" sz="928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604963" y="1133475"/>
            <a:ext cx="4714875" cy="534988"/>
            <a:chOff x="915" y="700"/>
            <a:chExt cx="2686" cy="330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00"/>
              <a:ext cx="2686" cy="33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43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43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73" tIns="93273" rIns="93273" bIns="93273" anchor="ctr"/>
          <a:lstStyle/>
          <a:p>
            <a:pPr defTabSz="932962">
              <a:defRPr/>
            </a:pPr>
            <a:endParaRPr lang="ru-RU" sz="1786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73" tIns="93273" rIns="93273" bIns="93273" anchor="ctr"/>
          <a:lstStyle/>
          <a:p>
            <a:pPr defTabSz="932962">
              <a:defRPr/>
            </a:pPr>
            <a:endParaRPr lang="ru-RU" sz="1786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4" name="navigation8" descr="ujkm,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39700" y="119063"/>
            <a:ext cx="11080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2"/>
          <p:cNvSpPr txBox="1"/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defTabSz="932962">
              <a:defRPr/>
            </a:pPr>
            <a:fld id="{FCA59FCD-5DD1-4D38-8D47-4261FACFC9BF}" type="slidenum">
              <a:rPr lang="ru-RU" sz="928">
                <a:solidFill>
                  <a:srgbClr val="000000"/>
                </a:solidFill>
                <a:latin typeface="+mn-lt"/>
                <a:cs typeface="+mn-cs"/>
              </a:rPr>
              <a:pPr defTabSz="932962">
                <a:defRPr/>
              </a:pPr>
              <a:t>‹#›</a:t>
            </a:fld>
            <a:endParaRPr lang="ru-RU" sz="928" dirty="0">
              <a:solidFill>
                <a:srgbClr val="000000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388938" y="333375"/>
            <a:ext cx="1362075" cy="1481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2" y="2181232"/>
            <a:ext cx="8970433" cy="1031875"/>
          </a:xfrm>
          <a:prstGeom prst="rect">
            <a:avLst/>
          </a:prstGeom>
          <a:ln/>
        </p:spPr>
        <p:txBody>
          <a:bodyPr lIns="68580" tIns="34290" rIns="68580" bIns="34290"/>
          <a:lstStyle>
            <a:lvl1pPr>
              <a:lnSpc>
                <a:spcPct val="130000"/>
              </a:lnSpc>
              <a:defRPr sz="151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40"/>
            <a:ext cx="4055269" cy="649287"/>
          </a:xfrm>
          <a:prstGeom prst="rect">
            <a:avLst/>
          </a:prstGeom>
          <a:ln/>
        </p:spPr>
        <p:txBody>
          <a:bodyPr lIns="68580" tIns="34290" rIns="68580" bIns="34290" anchor="ctr"/>
          <a:lstStyle>
            <a:lvl1pPr marL="0" indent="0">
              <a:buFontTx/>
              <a:buNone/>
              <a:defRPr sz="1192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9494" y="2"/>
            <a:ext cx="8386606" cy="962025"/>
          </a:xfrm>
          <a:prstGeom prst="rect">
            <a:avLst/>
          </a:prstGeom>
        </p:spPr>
        <p:txBody>
          <a:bodyPr lIns="68580" tIns="34290" rIns="68580" bIns="34290" anchor="ctr"/>
          <a:lstStyle>
            <a:lvl1pPr>
              <a:defRPr sz="195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9009063" y="6453188"/>
            <a:ext cx="682625" cy="365125"/>
          </a:xfrm>
        </p:spPr>
        <p:txBody>
          <a:bodyPr rtlCol="0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3A78BDE-0DFE-44EB-9D5D-D716C8ED1E7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AE6489A-0DF4-4A78-B48B-AF3620ED130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52579" y="2666999"/>
            <a:ext cx="7258122" cy="2360071"/>
          </a:xfrm>
        </p:spPr>
        <p:txBody>
          <a:bodyPr anchor="b"/>
          <a:lstStyle>
            <a:lvl1pPr algn="r">
              <a:defRPr sz="40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52581" y="5027070"/>
            <a:ext cx="7258119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60CE31-3BE4-45A8-B6C1-8DDC39520685}" type="datetimeFigureOut">
              <a:rPr lang="en-US"/>
              <a:pPr>
                <a:defRPr/>
              </a:pPr>
              <a:t>2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0B60EA0-2C09-46B1-85C8-6CB6DC79F72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1176261"/>
            <a:ext cx="3259005" cy="1019356"/>
          </a:xfrm>
        </p:spPr>
        <p:txBody>
          <a:bodyPr anchor="b"/>
          <a:lstStyle>
            <a:lvl1pPr algn="l">
              <a:defRPr sz="209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1176288"/>
            <a:ext cx="5537729" cy="5134378"/>
          </a:xfrm>
        </p:spPr>
        <p:txBody>
          <a:bodyPr/>
          <a:lstStyle>
            <a:lvl1pPr>
              <a:defRPr sz="3333"/>
            </a:lvl1pPr>
            <a:lvl2pPr>
              <a:defRPr sz="2952"/>
            </a:lvl2pPr>
            <a:lvl3pPr>
              <a:defRPr sz="2476">
                <a:latin typeface="Microsoft Sans Serif"/>
                <a:cs typeface="Microsoft Sans Serif"/>
              </a:defRPr>
            </a:lvl3pPr>
            <a:lvl4pPr>
              <a:defRPr sz="2095">
                <a:latin typeface="Microsoft Sans Serif"/>
                <a:cs typeface="Microsoft Sans Serif"/>
              </a:defRPr>
            </a:lvl4pPr>
            <a:lvl5pPr>
              <a:defRPr sz="2095">
                <a:latin typeface="Microsoft Sans Serif"/>
                <a:cs typeface="Microsoft Sans Serif"/>
              </a:defRPr>
            </a:lvl5pPr>
            <a:lvl6pPr>
              <a:defRPr sz="2095"/>
            </a:lvl6pPr>
            <a:lvl7pPr>
              <a:defRPr sz="2095"/>
            </a:lvl7pPr>
            <a:lvl8pPr>
              <a:defRPr sz="2095"/>
            </a:lvl8pPr>
            <a:lvl9pPr>
              <a:defRPr sz="2095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2338317"/>
            <a:ext cx="3259005" cy="4115022"/>
          </a:xfrm>
        </p:spPr>
        <p:txBody>
          <a:bodyPr/>
          <a:lstStyle>
            <a:lvl1pPr marL="0" indent="0">
              <a:buNone/>
              <a:defRPr sz="1429"/>
            </a:lvl1pPr>
            <a:lvl2pPr marL="477078" indent="0">
              <a:buNone/>
              <a:defRPr sz="1238"/>
            </a:lvl2pPr>
            <a:lvl3pPr marL="954155" indent="0">
              <a:buNone/>
              <a:defRPr sz="1048"/>
            </a:lvl3pPr>
            <a:lvl4pPr marL="1431234" indent="0">
              <a:buNone/>
              <a:defRPr sz="952"/>
            </a:lvl4pPr>
            <a:lvl5pPr marL="1908311" indent="0">
              <a:buNone/>
              <a:defRPr sz="952"/>
            </a:lvl5pPr>
            <a:lvl6pPr marL="2385390" indent="0">
              <a:buNone/>
              <a:defRPr sz="952"/>
            </a:lvl6pPr>
            <a:lvl7pPr marL="2862468" indent="0">
              <a:buNone/>
              <a:defRPr sz="952"/>
            </a:lvl7pPr>
            <a:lvl8pPr marL="3339546" indent="0">
              <a:buNone/>
              <a:defRPr sz="952"/>
            </a:lvl8pPr>
            <a:lvl9pPr marL="3816624" indent="0">
              <a:buNone/>
              <a:defRPr sz="95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87562523-5FC1-4C00-8149-086CAEDB090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3978" y="685802"/>
            <a:ext cx="8346723" cy="1752599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3977" y="2667000"/>
            <a:ext cx="4051554" cy="336867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59146" y="2667000"/>
            <a:ext cx="4051554" cy="334682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2039B0-4912-4EC6-B739-A84EEF15D31C}" type="datetimeFigureOut">
              <a:rPr lang="en-US"/>
              <a:pPr>
                <a:defRPr/>
              </a:pPr>
              <a:t>2/2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B91E72E-5658-4BF2-ADD2-1E02AF96CFD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0272" y="2658533"/>
            <a:ext cx="3744315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06316" y="3335337"/>
            <a:ext cx="3978269" cy="2665259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591852" y="2667000"/>
            <a:ext cx="3756790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370371" y="3335337"/>
            <a:ext cx="3978269" cy="2665259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A903A4-BDE5-47A1-A3BF-1AC8CEA336EB}" type="datetimeFigureOut">
              <a:rPr lang="en-US"/>
              <a:pPr>
                <a:defRPr/>
              </a:pPr>
              <a:t>2/26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0F71BCE-3F4C-431D-B9DA-0278D091FAD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E48E30-A48B-4AB8-909D-07E91934E904}" type="datetimeFigureOut">
              <a:rPr lang="en-US"/>
              <a:pPr>
                <a:defRPr/>
              </a:pPr>
              <a:t>2/26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0487A0C-7EF9-4796-9115-B91891DCDFD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F621AA9-EA30-4D7B-B87C-142F9C64B68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6318" y="1600200"/>
            <a:ext cx="2884412" cy="1371600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76516" y="685801"/>
            <a:ext cx="5072126" cy="51054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06318" y="2971800"/>
            <a:ext cx="2884412" cy="18288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50C651-4ED9-4E28-A795-94EE64BEFA54}" type="datetimeFigureOut">
              <a:rPr lang="en-US"/>
              <a:pPr>
                <a:defRPr/>
              </a:pPr>
              <a:t>2/2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B933D4E-D41B-4696-8CE4-E958C10B407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5027" y="1752599"/>
            <a:ext cx="4409902" cy="1371600"/>
          </a:xfrm>
        </p:spPr>
        <p:txBody>
          <a:bodyPr anchor="b">
            <a:normAutofit/>
          </a:bodyPr>
          <a:lstStyle>
            <a:lvl1pPr algn="ctr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172287" y="914400"/>
            <a:ext cx="2666485" cy="4572000"/>
          </a:xfrm>
          <a:prstGeom prst="roundRect">
            <a:avLst>
              <a:gd name="adj" fmla="val 42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rtlCol="0"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05027" y="3124199"/>
            <a:ext cx="4409902" cy="1828800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73EEAF-D8C5-4328-A9FD-C807F87AEA48}" type="datetimeFigureOut">
              <a:rPr lang="en-US"/>
              <a:pPr>
                <a:defRPr/>
              </a:pPr>
              <a:t>2/2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00A2A08-D6DF-47EC-B2AA-7EE6DEBCBA5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6317" y="4732865"/>
            <a:ext cx="8142324" cy="566738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939140" y="932112"/>
            <a:ext cx="6685320" cy="3164976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rtlCol="0"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06317" y="5299603"/>
            <a:ext cx="8142324" cy="493712"/>
          </a:xfrm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2A5F65-7B4C-45B9-A454-B90BC26E2EF9}" type="datetimeFigureOut">
              <a:rPr lang="en-US"/>
              <a:pPr>
                <a:defRPr/>
              </a:pPr>
              <a:t>2/2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74CE99F-B671-4D2B-B111-A88AB379D94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6318" y="685800"/>
            <a:ext cx="8142324" cy="3048000"/>
          </a:xfrm>
        </p:spPr>
        <p:txBody>
          <a:bodyPr>
            <a:normAutofit/>
          </a:bodyPr>
          <a:lstStyle>
            <a:lvl1pPr algn="ctr">
              <a:defRPr sz="32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06318" y="4343400"/>
            <a:ext cx="8142325" cy="14478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78B039-2658-4300-A032-1E9E5F158041}" type="datetimeFigureOut">
              <a:rPr lang="en-US"/>
              <a:pPr>
                <a:defRPr/>
              </a:pPr>
              <a:t>2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79BC1C3-F188-4542-9119-61917B10819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3"/>
          <p:cNvSpPr txBox="1"/>
          <p:nvPr/>
        </p:nvSpPr>
        <p:spPr>
          <a:xfrm>
            <a:off x="1050925" y="863600"/>
            <a:ext cx="495300" cy="584200"/>
          </a:xfrm>
          <a:prstGeom prst="rect">
            <a:avLst/>
          </a:prstGeom>
        </p:spPr>
        <p:txBody>
          <a:bodyPr anchor="ctr"/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defTabSz="957824" fontAlgn="auto">
              <a:spcAft>
                <a:spcPts val="0"/>
              </a:spcAft>
              <a:defRPr/>
            </a:pPr>
            <a:r>
              <a:rPr lang="en-US" sz="8000" dirty="0">
                <a:effectLst/>
                <a:latin typeface="+mn-lt"/>
                <a:cs typeface="+mn-cs"/>
              </a:rPr>
              <a:t>“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853488" y="2819400"/>
            <a:ext cx="495300" cy="584200"/>
          </a:xfrm>
          <a:prstGeom prst="rect">
            <a:avLst/>
          </a:prstGeom>
        </p:spPr>
        <p:txBody>
          <a:bodyPr anchor="ctr"/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algn="r" defTabSz="957824" fontAlgn="auto">
              <a:spcAft>
                <a:spcPts val="0"/>
              </a:spcAft>
              <a:defRPr/>
            </a:pPr>
            <a:r>
              <a:rPr lang="en-US" sz="8000" dirty="0">
                <a:effectLst/>
                <a:latin typeface="+mn-lt"/>
                <a:cs typeface="+mn-cs"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5637" y="685801"/>
            <a:ext cx="7555291" cy="2743199"/>
          </a:xfrm>
        </p:spPr>
        <p:txBody>
          <a:bodyPr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731421" y="3428999"/>
            <a:ext cx="7183722" cy="381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06317" y="4343400"/>
            <a:ext cx="8142324" cy="14478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01C303-A599-46C7-B452-D69ED23DB8C5}" type="datetimeFigureOut">
              <a:rPr lang="en-US"/>
              <a:pPr>
                <a:defRPr/>
              </a:pPr>
              <a:t>2/26/2021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EF3AE95-4231-4F29-8D7D-3AF5CA052CB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6320" y="3308581"/>
            <a:ext cx="8142321" cy="1468800"/>
          </a:xfrm>
        </p:spPr>
        <p:txBody>
          <a:bodyPr anchor="b">
            <a:normAutofit/>
          </a:bodyPr>
          <a:lstStyle>
            <a:lvl1pPr algn="r">
              <a:defRPr sz="32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06317" y="4777381"/>
            <a:ext cx="8142323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FEDE55-D405-455D-A7C4-D6B08ED3B4F8}" type="datetimeFigureOut">
              <a:rPr lang="en-US"/>
              <a:pPr>
                <a:defRPr/>
              </a:pPr>
              <a:t>2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77EC585-F84E-450D-9FFA-986AF41E7F9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7" y="5310536"/>
            <a:ext cx="5943600" cy="566738"/>
          </a:xfrm>
        </p:spPr>
        <p:txBody>
          <a:bodyPr anchor="b"/>
          <a:lstStyle>
            <a:lvl1pPr algn="l">
              <a:defRPr sz="2095" b="1">
                <a:solidFill>
                  <a:schemeClr val="accent4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7" y="1124744"/>
            <a:ext cx="5943600" cy="4114800"/>
          </a:xfrm>
        </p:spPr>
        <p:txBody>
          <a:bodyPr/>
          <a:lstStyle>
            <a:lvl1pPr marL="0" indent="0">
              <a:buNone/>
              <a:defRPr sz="3333"/>
            </a:lvl1pPr>
            <a:lvl2pPr marL="477078" indent="0">
              <a:buNone/>
              <a:defRPr sz="2952"/>
            </a:lvl2pPr>
            <a:lvl3pPr marL="954155" indent="0">
              <a:buNone/>
              <a:defRPr sz="2476"/>
            </a:lvl3pPr>
            <a:lvl4pPr marL="1431234" indent="0">
              <a:buNone/>
              <a:defRPr sz="2095"/>
            </a:lvl4pPr>
            <a:lvl5pPr marL="1908311" indent="0">
              <a:buNone/>
              <a:defRPr sz="2095"/>
            </a:lvl5pPr>
            <a:lvl6pPr marL="2385390" indent="0">
              <a:buNone/>
              <a:defRPr sz="2095"/>
            </a:lvl6pPr>
            <a:lvl7pPr marL="2862468" indent="0">
              <a:buNone/>
              <a:defRPr sz="2095"/>
            </a:lvl7pPr>
            <a:lvl8pPr marL="3339546" indent="0">
              <a:buNone/>
              <a:defRPr sz="2095"/>
            </a:lvl8pPr>
            <a:lvl9pPr marL="3816624" indent="0">
              <a:buNone/>
              <a:defRPr sz="2095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7" y="5877274"/>
            <a:ext cx="5943600" cy="804862"/>
          </a:xfrm>
        </p:spPr>
        <p:txBody>
          <a:bodyPr/>
          <a:lstStyle>
            <a:lvl1pPr marL="0" indent="0">
              <a:buNone/>
              <a:defRPr sz="1429">
                <a:solidFill>
                  <a:schemeClr val="accent3"/>
                </a:solidFill>
              </a:defRPr>
            </a:lvl1pPr>
            <a:lvl2pPr marL="477078" indent="0">
              <a:buNone/>
              <a:defRPr sz="1238"/>
            </a:lvl2pPr>
            <a:lvl3pPr marL="954155" indent="0">
              <a:buNone/>
              <a:defRPr sz="1048"/>
            </a:lvl3pPr>
            <a:lvl4pPr marL="1431234" indent="0">
              <a:buNone/>
              <a:defRPr sz="952"/>
            </a:lvl4pPr>
            <a:lvl5pPr marL="1908311" indent="0">
              <a:buNone/>
              <a:defRPr sz="952"/>
            </a:lvl5pPr>
            <a:lvl6pPr marL="2385390" indent="0">
              <a:buNone/>
              <a:defRPr sz="952"/>
            </a:lvl6pPr>
            <a:lvl7pPr marL="2862468" indent="0">
              <a:buNone/>
              <a:defRPr sz="952"/>
            </a:lvl7pPr>
            <a:lvl8pPr marL="3339546" indent="0">
              <a:buNone/>
              <a:defRPr sz="952"/>
            </a:lvl8pPr>
            <a:lvl9pPr marL="3816624" indent="0">
              <a:buNone/>
              <a:defRPr sz="952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74ADA904-1BFB-4C8D-92CF-4143A0169DD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3"/>
          <p:cNvSpPr txBox="1"/>
          <p:nvPr/>
        </p:nvSpPr>
        <p:spPr>
          <a:xfrm>
            <a:off x="1050925" y="863600"/>
            <a:ext cx="495300" cy="584200"/>
          </a:xfrm>
          <a:prstGeom prst="rect">
            <a:avLst/>
          </a:prstGeom>
        </p:spPr>
        <p:txBody>
          <a:bodyPr anchor="ctr"/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defTabSz="957824" fontAlgn="auto">
              <a:spcAft>
                <a:spcPts val="0"/>
              </a:spcAft>
              <a:defRPr/>
            </a:pPr>
            <a:r>
              <a:rPr lang="en-US" sz="8000" dirty="0">
                <a:effectLst/>
                <a:latin typeface="+mn-lt"/>
                <a:cs typeface="+mn-cs"/>
              </a:rPr>
              <a:t>“</a:t>
            </a:r>
          </a:p>
        </p:txBody>
      </p:sp>
      <p:sp>
        <p:nvSpPr>
          <p:cNvPr id="6" name="TextBox 14"/>
          <p:cNvSpPr txBox="1"/>
          <p:nvPr/>
        </p:nvSpPr>
        <p:spPr>
          <a:xfrm>
            <a:off x="8853488" y="2819400"/>
            <a:ext cx="495300" cy="584200"/>
          </a:xfrm>
          <a:prstGeom prst="rect">
            <a:avLst/>
          </a:prstGeom>
        </p:spPr>
        <p:txBody>
          <a:bodyPr anchor="ctr"/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algn="r" defTabSz="957824" fontAlgn="auto">
              <a:spcAft>
                <a:spcPts val="0"/>
              </a:spcAft>
              <a:defRPr/>
            </a:pPr>
            <a:r>
              <a:rPr lang="en-US" sz="8000" dirty="0">
                <a:effectLst/>
                <a:latin typeface="+mn-lt"/>
                <a:cs typeface="+mn-cs"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5637" y="685801"/>
            <a:ext cx="7555291" cy="2743199"/>
          </a:xfrm>
        </p:spPr>
        <p:txBody>
          <a:bodyPr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206319" y="3886200"/>
            <a:ext cx="8142323" cy="889000"/>
          </a:xfrm>
        </p:spPr>
        <p:txBody>
          <a:bodyPr rtlCol="0" anchor="b">
            <a:normAutofit/>
          </a:bodyPr>
          <a:lstStyle>
            <a:lvl1pPr algn="r">
              <a:buNone/>
              <a:defRPr lang="en-US" sz="24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06317" y="4775200"/>
            <a:ext cx="8142323" cy="1016000"/>
          </a:xfrm>
        </p:spPr>
        <p:txBody>
          <a:bodyPr anchor="t">
            <a:normAutofit/>
          </a:bodyPr>
          <a:lstStyle>
            <a:lvl1pPr marL="0" indent="0" algn="r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EB94F7-0201-4ED5-B9E3-FA3CDAFD7121}" type="datetimeFigureOut">
              <a:rPr lang="en-US"/>
              <a:pPr>
                <a:defRPr/>
              </a:pPr>
              <a:t>2/26/2021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09A09E2-8053-452F-9601-1B8EE202D6C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6319" y="685802"/>
            <a:ext cx="8142324" cy="2727325"/>
          </a:xfrm>
        </p:spPr>
        <p:txBody>
          <a:bodyPr rtlCol="0">
            <a:normAutofit/>
          </a:bodyPr>
          <a:lstStyle>
            <a:lvl1pPr>
              <a:defRPr lang="en-US" b="0" dirty="0"/>
            </a:lvl1pPr>
          </a:lstStyle>
          <a:p>
            <a:pPr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206318" y="3505200"/>
            <a:ext cx="8142325" cy="838200"/>
          </a:xfrm>
        </p:spPr>
        <p:txBody>
          <a:bodyPr rtlCol="0" anchor="b">
            <a:normAutofit/>
          </a:bodyPr>
          <a:lstStyle>
            <a:lvl1pPr>
              <a:buNone/>
              <a:defRPr lang="en-US" sz="28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06318" y="4343400"/>
            <a:ext cx="8142325" cy="1447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0EDAB0-14B4-4511-900D-890BB4B90C43}" type="datetimeFigureOut">
              <a:rPr lang="en-US"/>
              <a:pPr>
                <a:defRPr/>
              </a:pPr>
              <a:t>2/26/2021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7F0982A-452C-4BA0-B516-9E20695CDAE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4DE3DA-4FCD-4A8C-82C4-4FBC52E58AF6}" type="datetimeFigureOut">
              <a:rPr lang="en-US"/>
              <a:pPr>
                <a:defRPr/>
              </a:pPr>
              <a:t>2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EF962ED-2D40-4FEB-BDB4-A9DED17A75D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09843" y="685800"/>
            <a:ext cx="1438800" cy="51054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06318" y="685800"/>
            <a:ext cx="6517737" cy="5105400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E9594-C297-47C6-B474-56BF2BE04EAA}" type="datetimeFigureOut">
              <a:rPr lang="en-US"/>
              <a:pPr>
                <a:defRPr/>
              </a:pPr>
              <a:t>2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6B9273F-A532-4B84-8113-00D0D730CE2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2.jpeg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8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image" Target="../media/image18.png"/><Relationship Id="rId5" Type="http://schemas.openxmlformats.org/officeDocument/2006/relationships/image" Target="../media/image9.jpeg"/><Relationship Id="rId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0.xml"/><Relationship Id="rId2" Type="http://schemas.openxmlformats.org/officeDocument/2006/relationships/slideLayout" Target="../slideLayouts/slideLayout80.xml"/><Relationship Id="rId16" Type="http://schemas.openxmlformats.org/officeDocument/2006/relationships/theme" Target="../theme/theme11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9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image" Target="../media/image9.jpe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9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image" Target="../media/image11.png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40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image" Target="../media/image9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53.xml"/><Relationship Id="rId7" Type="http://schemas.openxmlformats.org/officeDocument/2006/relationships/theme" Target="../theme/theme4.xml"/><Relationship Id="rId12" Type="http://schemas.openxmlformats.org/officeDocument/2006/relationships/image" Target="../media/image14.png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image" Target="../media/image10.png"/><Relationship Id="rId5" Type="http://schemas.openxmlformats.org/officeDocument/2006/relationships/slideLayout" Target="../slideLayouts/slideLayout5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54.xml"/><Relationship Id="rId9" Type="http://schemas.openxmlformats.org/officeDocument/2006/relationships/tags" Target="../tags/tag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59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5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60.xml"/><Relationship Id="rId9" Type="http://schemas.openxmlformats.org/officeDocument/2006/relationships/image" Target="../media/image10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slideLayout" Target="../slideLayouts/slideLayout63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vmlDrawing" Target="../drawings/vmlDrawing11.vml"/><Relationship Id="rId5" Type="http://schemas.openxmlformats.org/officeDocument/2006/relationships/theme" Target="../theme/theme6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64.xml"/><Relationship Id="rId9" Type="http://schemas.openxmlformats.org/officeDocument/2006/relationships/image" Target="../media/image10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slideLayout" Target="../slideLayouts/slideLayout67.xml"/><Relationship Id="rId7" Type="http://schemas.openxmlformats.org/officeDocument/2006/relationships/tags" Target="../tags/tag16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vmlDrawing" Target="../drawings/vmlDrawing16.vml"/><Relationship Id="rId5" Type="http://schemas.openxmlformats.org/officeDocument/2006/relationships/theme" Target="../theme/theme7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68.xml"/><Relationship Id="rId9" Type="http://schemas.openxmlformats.org/officeDocument/2006/relationships/image" Target="../media/image10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slideLayout" Target="../slideLayouts/slideLayout71.xml"/><Relationship Id="rId7" Type="http://schemas.openxmlformats.org/officeDocument/2006/relationships/tags" Target="../tags/tag20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vmlDrawing" Target="../drawings/vmlDrawing20.vml"/><Relationship Id="rId5" Type="http://schemas.openxmlformats.org/officeDocument/2006/relationships/theme" Target="../theme/theme8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72.xml"/><Relationship Id="rId9" Type="http://schemas.openxmlformats.org/officeDocument/2006/relationships/image" Target="../media/image10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75.xml"/><Relationship Id="rId7" Type="http://schemas.openxmlformats.org/officeDocument/2006/relationships/oleObject" Target="../embeddings/oleObject25.bin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tags" Target="../tags/tag25.xml"/><Relationship Id="rId5" Type="http://schemas.openxmlformats.org/officeDocument/2006/relationships/vmlDrawing" Target="../drawings/vmlDrawing25.vml"/><Relationship Id="rId4" Type="http://schemas.openxmlformats.org/officeDocument/2006/relationships/theme" Target="../theme/theme9.xml"/><Relationship Id="rId9" Type="http://schemas.openxmlformats.org/officeDocument/2006/relationships/image" Target="../media/image1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"/>
          <p:cNvGrpSpPr>
            <a:grpSpLocks/>
          </p:cNvGrpSpPr>
          <p:nvPr userDrawn="1"/>
        </p:nvGrpSpPr>
        <p:grpSpPr bwMode="auto">
          <a:xfrm>
            <a:off x="0" y="7938"/>
            <a:ext cx="8229600" cy="981075"/>
            <a:chOff x="0" y="2505596"/>
            <a:chExt cx="6696744" cy="1707025"/>
          </a:xfrm>
        </p:grpSpPr>
        <p:sp>
          <p:nvSpPr>
            <p:cNvPr id="2" name="Rectangle 1"/>
            <p:cNvSpPr/>
            <p:nvPr userDrawn="1"/>
          </p:nvSpPr>
          <p:spPr>
            <a:xfrm>
              <a:off x="0" y="3635325"/>
              <a:ext cx="6696744" cy="57729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0" y="3069080"/>
              <a:ext cx="6696744" cy="57729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21" dirty="0">
                <a:solidFill>
                  <a:srgbClr val="3E87BD"/>
                </a:solidFill>
                <a:cs typeface="Microsoft Sans Serif"/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0" y="2505596"/>
              <a:ext cx="6696744" cy="57729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</p:grpSp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166225" y="6381750"/>
            <a:ext cx="677863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700" b="1">
                <a:solidFill>
                  <a:srgbClr val="0D6186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fld id="{5935B08D-E6CF-4885-8768-75E24F4D7D2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6" name="Rectangle 5"/>
          <p:cNvSpPr/>
          <p:nvPr userDrawn="1"/>
        </p:nvSpPr>
        <p:spPr>
          <a:xfrm rot="10800000">
            <a:off x="6981825" y="0"/>
            <a:ext cx="1609725" cy="1104900"/>
          </a:xfrm>
          <a:custGeom>
            <a:avLst/>
            <a:gdLst>
              <a:gd name="connsiteX0" fmla="*/ 0 w 1080120"/>
              <a:gd name="connsiteY0" fmla="*/ 0 h 1080120"/>
              <a:gd name="connsiteX1" fmla="*/ 1080120 w 1080120"/>
              <a:gd name="connsiteY1" fmla="*/ 0 h 1080120"/>
              <a:gd name="connsiteX2" fmla="*/ 1080120 w 1080120"/>
              <a:gd name="connsiteY2" fmla="*/ 1080120 h 1080120"/>
              <a:gd name="connsiteX3" fmla="*/ 0 w 1080120"/>
              <a:gd name="connsiteY3" fmla="*/ 1080120 h 1080120"/>
              <a:gd name="connsiteX4" fmla="*/ 0 w 1080120"/>
              <a:gd name="connsiteY4" fmla="*/ 0 h 1080120"/>
              <a:gd name="connsiteX0" fmla="*/ 0 w 1080120"/>
              <a:gd name="connsiteY0" fmla="*/ 0 h 1088587"/>
              <a:gd name="connsiteX1" fmla="*/ 1080120 w 1080120"/>
              <a:gd name="connsiteY1" fmla="*/ 0 h 1088587"/>
              <a:gd name="connsiteX2" fmla="*/ 97986 w 1080120"/>
              <a:gd name="connsiteY2" fmla="*/ 1088587 h 1088587"/>
              <a:gd name="connsiteX3" fmla="*/ 0 w 1080120"/>
              <a:gd name="connsiteY3" fmla="*/ 1080120 h 1088587"/>
              <a:gd name="connsiteX4" fmla="*/ 0 w 1080120"/>
              <a:gd name="connsiteY4" fmla="*/ 0 h 1088587"/>
              <a:gd name="connsiteX0" fmla="*/ 406400 w 1486520"/>
              <a:gd name="connsiteY0" fmla="*/ 0 h 1097053"/>
              <a:gd name="connsiteX1" fmla="*/ 1486520 w 1486520"/>
              <a:gd name="connsiteY1" fmla="*/ 0 h 1097053"/>
              <a:gd name="connsiteX2" fmla="*/ 504386 w 1486520"/>
              <a:gd name="connsiteY2" fmla="*/ 1088587 h 1097053"/>
              <a:gd name="connsiteX3" fmla="*/ 0 w 1486520"/>
              <a:gd name="connsiteY3" fmla="*/ 1097053 h 1097053"/>
              <a:gd name="connsiteX4" fmla="*/ 406400 w 1486520"/>
              <a:gd name="connsiteY4" fmla="*/ 0 h 1097053"/>
              <a:gd name="connsiteX0" fmla="*/ 8466 w 1486520"/>
              <a:gd name="connsiteY0" fmla="*/ 0 h 1105519"/>
              <a:gd name="connsiteX1" fmla="*/ 1486520 w 1486520"/>
              <a:gd name="connsiteY1" fmla="*/ 8466 h 1105519"/>
              <a:gd name="connsiteX2" fmla="*/ 504386 w 1486520"/>
              <a:gd name="connsiteY2" fmla="*/ 1097053 h 1105519"/>
              <a:gd name="connsiteX3" fmla="*/ 0 w 1486520"/>
              <a:gd name="connsiteY3" fmla="*/ 1105519 h 1105519"/>
              <a:gd name="connsiteX4" fmla="*/ 8466 w 1486520"/>
              <a:gd name="connsiteY4" fmla="*/ 0 h 110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6520" h="1105519">
                <a:moveTo>
                  <a:pt x="8466" y="0"/>
                </a:moveTo>
                <a:lnTo>
                  <a:pt x="1486520" y="8466"/>
                </a:lnTo>
                <a:lnTo>
                  <a:pt x="504386" y="1097053"/>
                </a:lnTo>
                <a:lnTo>
                  <a:pt x="0" y="1105519"/>
                </a:lnTo>
                <a:lnTo>
                  <a:pt x="846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420" tIns="47710" rIns="95420" bIns="47710" anchor="ctr"/>
          <a:lstStyle/>
          <a:p>
            <a:pPr algn="ctr" defTabSz="9541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103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6862763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31" name="navigation8" descr="ujkm,"/>
          <p:cNvPicPr>
            <a:picLocks noChangeAspect="1" noChangeArrowheads="1"/>
          </p:cNvPicPr>
          <p:nvPr/>
        </p:nvPicPr>
        <p:blipFill>
          <a:blip r:embed="rId29"/>
          <a:srcRect/>
          <a:stretch>
            <a:fillRect/>
          </a:stretch>
        </p:blipFill>
        <p:spPr bwMode="auto">
          <a:xfrm>
            <a:off x="8916988" y="188913"/>
            <a:ext cx="873125" cy="712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2" name="Рисунок 46"/>
          <p:cNvPicPr>
            <a:picLocks noChangeAspect="1"/>
          </p:cNvPicPr>
          <p:nvPr userDrawn="1"/>
        </p:nvPicPr>
        <p:blipFill>
          <a:blip r:embed="rId30"/>
          <a:srcRect/>
          <a:stretch>
            <a:fillRect/>
          </a:stretch>
        </p:blipFill>
        <p:spPr bwMode="auto">
          <a:xfrm>
            <a:off x="7916863" y="204788"/>
            <a:ext cx="942975" cy="671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266" r:id="rId1"/>
    <p:sldLayoutId id="2147484267" r:id="rId2"/>
    <p:sldLayoutId id="2147484268" r:id="rId3"/>
    <p:sldLayoutId id="2147484269" r:id="rId4"/>
    <p:sldLayoutId id="2147484270" r:id="rId5"/>
    <p:sldLayoutId id="2147484271" r:id="rId6"/>
    <p:sldLayoutId id="2147484272" r:id="rId7"/>
    <p:sldLayoutId id="2147484273" r:id="rId8"/>
    <p:sldLayoutId id="2147484274" r:id="rId9"/>
    <p:sldLayoutId id="2147484275" r:id="rId10"/>
    <p:sldLayoutId id="2147484276" r:id="rId11"/>
    <p:sldLayoutId id="2147484277" r:id="rId12"/>
    <p:sldLayoutId id="2147484278" r:id="rId13"/>
    <p:sldLayoutId id="2147484279" r:id="rId14"/>
    <p:sldLayoutId id="2147484280" r:id="rId15"/>
    <p:sldLayoutId id="2147484281" r:id="rId16"/>
    <p:sldLayoutId id="2147484282" r:id="rId17"/>
    <p:sldLayoutId id="2147484283" r:id="rId18"/>
    <p:sldLayoutId id="2147484284" r:id="rId19"/>
    <p:sldLayoutId id="2147484285" r:id="rId20"/>
    <p:sldLayoutId id="2147484286" r:id="rId21"/>
    <p:sldLayoutId id="2147484287" r:id="rId22"/>
    <p:sldLayoutId id="2147484288" r:id="rId23"/>
    <p:sldLayoutId id="2147484289" r:id="rId24"/>
    <p:sldLayoutId id="2147484290" r:id="rId25"/>
    <p:sldLayoutId id="2147484291" r:id="rId26"/>
    <p:sldLayoutId id="2147484292" r:id="rId27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90CDD7"/>
          </a:solidFill>
          <a:latin typeface="Microsoft Sans Serif"/>
          <a:ea typeface="+mj-ea"/>
          <a:cs typeface="Microsoft Sans Serif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90CDD7"/>
          </a:solidFill>
          <a:latin typeface="Microsoft Sans Serif" pitchFamily="34" charset="0"/>
          <a:cs typeface="Microsoft Sans Serif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90CDD7"/>
          </a:solidFill>
          <a:latin typeface="Microsoft Sans Serif" pitchFamily="34" charset="0"/>
          <a:cs typeface="Microsoft Sans Serif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90CDD7"/>
          </a:solidFill>
          <a:latin typeface="Microsoft Sans Serif" pitchFamily="34" charset="0"/>
          <a:cs typeface="Microsoft Sans Serif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90CDD7"/>
          </a:solidFill>
          <a:latin typeface="Microsoft Sans Serif" pitchFamily="34" charset="0"/>
          <a:cs typeface="Microsoft Sans Serif" pitchFamily="34" charset="0"/>
        </a:defRPr>
      </a:lvl5pPr>
      <a:lvl6pPr marL="477109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6pPr>
      <a:lvl7pPr marL="954217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7pPr>
      <a:lvl8pPr marL="1431326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8pPr>
      <a:lvl9pPr marL="1908434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7325" indent="-18732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Clr>
          <a:schemeClr val="accent2"/>
        </a:buClr>
        <a:buSzPct val="150000"/>
        <a:buFont typeface="Arial" charset="0"/>
        <a:buChar char="•"/>
        <a:defRPr sz="1700">
          <a:solidFill>
            <a:schemeClr val="tx1"/>
          </a:solidFill>
          <a:latin typeface="Microsoft Sans Serif"/>
          <a:ea typeface="+mn-ea"/>
          <a:cs typeface="Microsoft Sans Serif"/>
        </a:defRPr>
      </a:lvl1pPr>
      <a:lvl2pPr marL="374650" indent="-18415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Clr>
          <a:schemeClr val="accent2"/>
        </a:buClr>
        <a:buSzPct val="150000"/>
        <a:buFont typeface="Arial" charset="0"/>
        <a:buChar char="•"/>
        <a:defRPr sz="1400">
          <a:solidFill>
            <a:schemeClr val="tx1"/>
          </a:solidFill>
          <a:latin typeface="Microsoft Sans Serif"/>
          <a:cs typeface="Microsoft Sans Serif"/>
        </a:defRPr>
      </a:lvl2pPr>
      <a:lvl3pPr marL="1211263" indent="-279400" algn="l" rtl="0" eaLnBrk="0" fontAlgn="base" hangingPunct="0">
        <a:spcBef>
          <a:spcPct val="0"/>
        </a:spcBef>
        <a:spcAft>
          <a:spcPct val="30000"/>
        </a:spcAft>
        <a:buBlip>
          <a:blip r:embed="rId31"/>
        </a:buBlip>
        <a:defRPr sz="2200">
          <a:solidFill>
            <a:schemeClr val="tx1"/>
          </a:solidFill>
          <a:latin typeface="+mn-lt"/>
          <a:cs typeface="Microsoft Sans Serif" pitchFamily="34" charset="0"/>
        </a:defRPr>
      </a:lvl3pPr>
      <a:lvl4pPr marL="1736725" indent="-2381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Microsoft Sans Serif" pitchFamily="34" charset="0"/>
        </a:defRPr>
      </a:lvl4pPr>
      <a:lvl5pPr marL="2162175" indent="-2381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Microsoft Sans Serif" pitchFamily="34" charset="0"/>
        </a:defRPr>
      </a:lvl5pPr>
      <a:lvl6pPr marL="2640663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6pPr>
      <a:lvl7pPr marL="3117772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7pPr>
      <a:lvl8pPr marL="3594881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8pPr>
      <a:lvl9pPr marL="4071990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77109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54217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31326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08434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385543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862652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39760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16869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9009063" y="6453188"/>
            <a:ext cx="781050" cy="365125"/>
          </a:xfrm>
          <a:prstGeom prst="rect">
            <a:avLst/>
          </a:prstGeom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algn="r">
              <a:defRPr sz="1300"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CC6F3F7-3512-4DE2-B842-EC535FDA119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344067" name="navigation8" descr="ujkm,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8912225" y="95250"/>
            <a:ext cx="720725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339" r:id="rId1"/>
    <p:sldLayoutId id="2147484340" r:id="rId2"/>
    <p:sldLayoutId id="2147484341" r:id="rId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5pPr>
      <a:lvl6pPr marL="37146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2931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439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5863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100" indent="-14287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7"/>
        </a:buBlip>
        <a:defRPr sz="1100">
          <a:solidFill>
            <a:schemeClr val="tx1"/>
          </a:solidFill>
          <a:latin typeface="+mn-lt"/>
          <a:cs typeface="+mn-cs"/>
        </a:defRPr>
      </a:lvl2pPr>
      <a:lvl3pPr marL="942975" indent="-217488" algn="l" rtl="0" eaLnBrk="0" fontAlgn="base" hangingPunct="0">
        <a:spcBef>
          <a:spcPct val="0"/>
        </a:spcBef>
        <a:spcAft>
          <a:spcPct val="30000"/>
        </a:spcAft>
        <a:buBlip>
          <a:blip r:embed="rId7"/>
        </a:buBlip>
        <a:defRPr>
          <a:solidFill>
            <a:schemeClr val="tx1"/>
          </a:solidFill>
          <a:latin typeface="+mn-lt"/>
          <a:cs typeface="+mn-cs"/>
        </a:defRPr>
      </a:lvl3pPr>
      <a:lvl4pPr marL="1352550" indent="-18415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1684338" indent="-18415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055959" indent="-18573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7425" indent="-18573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8891" indent="-18573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70356" indent="-18573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1pPr>
      <a:lvl2pPr marL="371466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2pPr>
      <a:lvl3pPr marL="742931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7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4pPr>
      <a:lvl5pPr marL="1485863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5pPr>
      <a:lvl6pPr marL="1857329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4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7pPr>
      <a:lvl8pPr marL="2600260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8pPr>
      <a:lvl9pPr marL="2971726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8162" name="Group 13"/>
          <p:cNvGrpSpPr>
            <a:grpSpLocks/>
          </p:cNvGrpSpPr>
          <p:nvPr/>
        </p:nvGrpSpPr>
        <p:grpSpPr bwMode="auto">
          <a:xfrm>
            <a:off x="0" y="0"/>
            <a:ext cx="2309813" cy="6858000"/>
            <a:chOff x="0" y="0"/>
            <a:chExt cx="2132013" cy="6858001"/>
          </a:xfrm>
        </p:grpSpPr>
        <p:sp>
          <p:nvSpPr>
            <p:cNvPr id="100360" name="Freeform 6"/>
            <p:cNvSpPr>
              <a:spLocks/>
            </p:cNvSpPr>
            <p:nvPr/>
          </p:nvSpPr>
          <p:spPr bwMode="auto">
            <a:xfrm>
              <a:off x="0" y="0"/>
              <a:ext cx="1072600" cy="5291139"/>
            </a:xfrm>
            <a:custGeom>
              <a:avLst/>
              <a:gdLst>
                <a:gd name="T0" fmla="*/ 0 w 676"/>
                <a:gd name="T1" fmla="*/ 0 h 3333"/>
                <a:gd name="T2" fmla="*/ 676 w 676"/>
                <a:gd name="T3" fmla="*/ 3333 h 3333"/>
              </a:gdLst>
              <a:ahLst/>
              <a:cxnLst>
                <a:cxn ang="0">
                  <a:pos x="0" y="3132"/>
                </a:cxn>
                <a:cxn ang="0">
                  <a:pos x="0" y="3312"/>
                </a:cxn>
                <a:cxn ang="0">
                  <a:pos x="126" y="3333"/>
                </a:cxn>
                <a:cxn ang="0">
                  <a:pos x="676" y="0"/>
                </a:cxn>
                <a:cxn ang="0">
                  <a:pos x="514" y="0"/>
                </a:cxn>
                <a:cxn ang="0">
                  <a:pos x="0" y="3132"/>
                </a:cxn>
              </a:cxnLst>
              <a:rect l="T0" t="T1" r="T2" b="T3"/>
              <a:pathLst>
                <a:path w="676" h="3333">
                  <a:moveTo>
                    <a:pt x="0" y="3132"/>
                  </a:moveTo>
                  <a:lnTo>
                    <a:pt x="0" y="3312"/>
                  </a:lnTo>
                  <a:lnTo>
                    <a:pt x="126" y="3333"/>
                  </a:lnTo>
                  <a:lnTo>
                    <a:pt x="676" y="0"/>
                  </a:lnTo>
                  <a:lnTo>
                    <a:pt x="514" y="0"/>
                  </a:lnTo>
                  <a:lnTo>
                    <a:pt x="0" y="3132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6" name="Freeform 7"/>
            <p:cNvSpPr/>
            <p:nvPr/>
          </p:nvSpPr>
          <p:spPr bwMode="auto">
            <a:xfrm>
              <a:off x="0" y="0"/>
              <a:ext cx="759026" cy="4624389"/>
            </a:xfrm>
            <a:custGeom>
              <a:avLst/>
              <a:gdLst/>
              <a:ahLst/>
              <a:cxnLst/>
              <a:rect l="0" t="0" r="r" b="b"/>
              <a:pathLst>
                <a:path w="478" h="2913">
                  <a:moveTo>
                    <a:pt x="478" y="0"/>
                  </a:moveTo>
                  <a:lnTo>
                    <a:pt x="318" y="0"/>
                  </a:lnTo>
                  <a:lnTo>
                    <a:pt x="0" y="1938"/>
                  </a:lnTo>
                  <a:lnTo>
                    <a:pt x="0" y="2913"/>
                  </a:lnTo>
                  <a:lnTo>
                    <a:pt x="478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17" name="Freeform 8"/>
            <p:cNvSpPr/>
            <p:nvPr/>
          </p:nvSpPr>
          <p:spPr bwMode="auto">
            <a:xfrm>
              <a:off x="0" y="5662614"/>
              <a:ext cx="907022" cy="1195387"/>
            </a:xfrm>
            <a:custGeom>
              <a:avLst/>
              <a:gdLst/>
              <a:ahLst/>
              <a:cxnLst/>
              <a:rect l="0" t="0" r="r" b="b"/>
              <a:pathLst>
                <a:path w="571" h="753">
                  <a:moveTo>
                    <a:pt x="0" y="0"/>
                  </a:moveTo>
                  <a:lnTo>
                    <a:pt x="0" y="12"/>
                  </a:lnTo>
                  <a:lnTo>
                    <a:pt x="538" y="753"/>
                  </a:lnTo>
                  <a:lnTo>
                    <a:pt x="571" y="75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18" name="Freeform 9"/>
            <p:cNvSpPr/>
            <p:nvPr/>
          </p:nvSpPr>
          <p:spPr bwMode="auto">
            <a:xfrm>
              <a:off x="0" y="5295901"/>
              <a:ext cx="1487281" cy="1562100"/>
            </a:xfrm>
            <a:custGeom>
              <a:avLst/>
              <a:gdLst/>
              <a:ahLst/>
              <a:cxnLst/>
              <a:rect l="0" t="0" r="r" b="b"/>
              <a:pathLst>
                <a:path w="937" h="984">
                  <a:moveTo>
                    <a:pt x="0" y="0"/>
                  </a:moveTo>
                  <a:lnTo>
                    <a:pt x="0" y="3"/>
                  </a:lnTo>
                  <a:lnTo>
                    <a:pt x="901" y="984"/>
                  </a:lnTo>
                  <a:lnTo>
                    <a:pt x="937" y="9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19" name="Freeform 10"/>
            <p:cNvSpPr/>
            <p:nvPr/>
          </p:nvSpPr>
          <p:spPr bwMode="auto">
            <a:xfrm>
              <a:off x="0" y="5257801"/>
              <a:ext cx="2132013" cy="1600200"/>
            </a:xfrm>
            <a:custGeom>
              <a:avLst/>
              <a:gdLst/>
              <a:ahLst/>
              <a:cxnLst/>
              <a:rect l="0" t="0" r="r" b="b"/>
              <a:pathLst>
                <a:path w="1343" h="1008">
                  <a:moveTo>
                    <a:pt x="0" y="24"/>
                  </a:moveTo>
                  <a:lnTo>
                    <a:pt x="937" y="1008"/>
                  </a:lnTo>
                  <a:lnTo>
                    <a:pt x="1343" y="1008"/>
                  </a:lnTo>
                  <a:lnTo>
                    <a:pt x="126" y="21"/>
                  </a:lnTo>
                  <a:lnTo>
                    <a:pt x="0" y="0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20" name="Freeform 11"/>
            <p:cNvSpPr/>
            <p:nvPr/>
          </p:nvSpPr>
          <p:spPr bwMode="auto">
            <a:xfrm>
              <a:off x="0" y="5357814"/>
              <a:ext cx="1377383" cy="1500187"/>
            </a:xfrm>
            <a:custGeom>
              <a:avLst/>
              <a:gdLst/>
              <a:ahLst/>
              <a:cxnLst/>
              <a:rect l="0" t="0" r="r" b="b"/>
              <a:pathLst>
                <a:path w="868" h="945">
                  <a:moveTo>
                    <a:pt x="0" y="192"/>
                  </a:moveTo>
                  <a:lnTo>
                    <a:pt x="571" y="945"/>
                  </a:lnTo>
                  <a:lnTo>
                    <a:pt x="868" y="945"/>
                  </a:lnTo>
                  <a:lnTo>
                    <a:pt x="0" y="0"/>
                  </a:lnTo>
                  <a:lnTo>
                    <a:pt x="0" y="192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348163" name="Title Placeholder 1"/>
          <p:cNvSpPr>
            <a:spLocks noGrp="1"/>
          </p:cNvSpPr>
          <p:nvPr>
            <p:ph type="title"/>
          </p:nvPr>
        </p:nvSpPr>
        <p:spPr bwMode="auto">
          <a:xfrm>
            <a:off x="1063625" y="457200"/>
            <a:ext cx="8347075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  <a:endParaRPr lang="en-US" smtClean="0"/>
          </a:p>
        </p:txBody>
      </p:sp>
      <p:sp>
        <p:nvSpPr>
          <p:cNvPr id="34816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063625" y="2667000"/>
            <a:ext cx="8347075" cy="3357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972425" y="6116638"/>
            <a:ext cx="9286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000" b="0" i="0">
                <a:solidFill>
                  <a:schemeClr val="tx1"/>
                </a:solidFill>
                <a:effectLst/>
                <a:latin typeface="+mn-lt"/>
                <a:cs typeface="+mn-cs"/>
              </a:defRPr>
            </a:lvl1pPr>
          </a:lstStyle>
          <a:p>
            <a:pPr>
              <a:defRPr/>
            </a:pPr>
            <a:fld id="{08EB5643-66AF-4ECE-9371-E9F7912EF57C}" type="datetimeFigureOut">
              <a:rPr lang="en-US"/>
              <a:pPr>
                <a:defRPr/>
              </a:pPr>
              <a:t>2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52650" y="6116638"/>
            <a:ext cx="57578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957824" fontAlgn="auto">
              <a:spcBef>
                <a:spcPts val="0"/>
              </a:spcBef>
              <a:spcAft>
                <a:spcPts val="0"/>
              </a:spcAft>
              <a:defRPr sz="1000" b="0" i="0">
                <a:solidFill>
                  <a:schemeClr val="tx1"/>
                </a:solidFill>
                <a:effectLst/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63025" y="6116638"/>
            <a:ext cx="447675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0D6186"/>
                </a:solidFill>
                <a:latin typeface="Corbel" pitchFamily="34" charset="0"/>
              </a:defRPr>
            </a:lvl1pPr>
          </a:lstStyle>
          <a:p>
            <a:pPr>
              <a:defRPr/>
            </a:pPr>
            <a:fld id="{32662555-ED52-4A3A-BF52-689CD73AD4A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42" r:id="rId1"/>
    <p:sldLayoutId id="2147484343" r:id="rId2"/>
    <p:sldLayoutId id="2147484344" r:id="rId3"/>
    <p:sldLayoutId id="2147484345" r:id="rId4"/>
    <p:sldLayoutId id="2147484346" r:id="rId5"/>
    <p:sldLayoutId id="2147484347" r:id="rId6"/>
    <p:sldLayoutId id="2147484348" r:id="rId7"/>
    <p:sldLayoutId id="2147484349" r:id="rId8"/>
    <p:sldLayoutId id="2147484350" r:id="rId9"/>
    <p:sldLayoutId id="2147484351" r:id="rId10"/>
    <p:sldLayoutId id="2147484352" r:id="rId11"/>
    <p:sldLayoutId id="2147484353" r:id="rId12"/>
    <p:sldLayoutId id="2147484354" r:id="rId13"/>
    <p:sldLayoutId id="2147484355" r:id="rId14"/>
    <p:sldLayoutId id="2147484356" r:id="rId15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000" kern="1200">
          <a:ln w="3175" cmpd="sng">
            <a:noFill/>
          </a:ln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orbel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orbel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orbel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orbel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0" fontAlgn="base" hangingPunct="0">
        <a:spcBef>
          <a:spcPct val="20000"/>
        </a:spcBef>
        <a:spcAft>
          <a:spcPts val="600"/>
        </a:spcAft>
        <a:buClr>
          <a:srgbClr val="1287C3"/>
        </a:buClr>
        <a:buSzPct val="145000"/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ts val="600"/>
        </a:spcAft>
        <a:buClr>
          <a:srgbClr val="1287C3"/>
        </a:buClr>
        <a:buSzPct val="145000"/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200150" indent="-285750" algn="l" defTabSz="457200" rtl="0" eaLnBrk="0" fontAlgn="base" hangingPunct="0">
        <a:spcBef>
          <a:spcPct val="20000"/>
        </a:spcBef>
        <a:spcAft>
          <a:spcPts val="600"/>
        </a:spcAft>
        <a:buClr>
          <a:srgbClr val="1287C3"/>
        </a:buClr>
        <a:buSzPct val="145000"/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543050" indent="-171450" algn="l" defTabSz="457200" rtl="0" eaLnBrk="0" fontAlgn="base" hangingPunct="0">
        <a:spcBef>
          <a:spcPct val="20000"/>
        </a:spcBef>
        <a:spcAft>
          <a:spcPts val="600"/>
        </a:spcAft>
        <a:buClr>
          <a:srgbClr val="1287C3"/>
        </a:buClr>
        <a:buSzPct val="145000"/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00250" indent="-171450" algn="l" defTabSz="457200" rtl="0" eaLnBrk="0" fontAlgn="base" hangingPunct="0">
        <a:spcBef>
          <a:spcPct val="20000"/>
        </a:spcBef>
        <a:spcAft>
          <a:spcPts val="600"/>
        </a:spcAft>
        <a:buClr>
          <a:srgbClr val="1287C3"/>
        </a:buClr>
        <a:buSzPct val="145000"/>
        <a:buFont typeface="Arial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EC206338-108C-4440-9850-F1206D4AB1E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2970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29701" name="navigation8" descr="ujkm,"/>
          <p:cNvPicPr>
            <a:picLocks noChangeAspect="1" noChangeArrowheads="1"/>
          </p:cNvPicPr>
          <p:nvPr userDrawn="1"/>
        </p:nvPicPr>
        <p:blipFill>
          <a:blip r:embed="rId14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293" r:id="rId1"/>
    <p:sldLayoutId id="2147484294" r:id="rId2"/>
    <p:sldLayoutId id="2147484295" r:id="rId3"/>
    <p:sldLayoutId id="2147484296" r:id="rId4"/>
    <p:sldLayoutId id="2147484297" r:id="rId5"/>
    <p:sldLayoutId id="2147484298" r:id="rId6"/>
    <p:sldLayoutId id="2147484299" r:id="rId7"/>
    <p:sldLayoutId id="2147484300" r:id="rId8"/>
    <p:sldLayoutId id="2147484301" r:id="rId9"/>
    <p:sldLayoutId id="2147484302" r:id="rId10"/>
    <p:sldLayoutId id="2147484303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5C2A6F3C-B4E6-4FD7-B145-FB012E8F707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4198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4198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41989" name="navigation8" descr="ujkm,"/>
          <p:cNvPicPr>
            <a:picLocks noChangeAspect="1" noChangeArrowheads="1"/>
          </p:cNvPicPr>
          <p:nvPr userDrawn="1"/>
        </p:nvPicPr>
        <p:blipFill>
          <a:blip r:embed="rId15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304" r:id="rId1"/>
    <p:sldLayoutId id="2147484305" r:id="rId2"/>
    <p:sldLayoutId id="2147484306" r:id="rId3"/>
    <p:sldLayoutId id="2147484307" r:id="rId4"/>
    <p:sldLayoutId id="2147484308" r:id="rId5"/>
    <p:sldLayoutId id="2147484309" r:id="rId6"/>
    <p:sldLayoutId id="2147484310" r:id="rId7"/>
    <p:sldLayoutId id="2147484311" r:id="rId8"/>
    <p:sldLayoutId id="2147484312" r:id="rId9"/>
    <p:sldLayoutId id="2147484313" r:id="rId10"/>
    <p:sldLayoutId id="2147484314" r:id="rId11"/>
    <p:sldLayoutId id="2147484315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641" name="Object 44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0" y="0"/>
          <a:ext cx="176213" cy="161925"/>
        </p:xfrm>
        <a:graphic>
          <a:graphicData uri="http://schemas.openxmlformats.org/presentationml/2006/ole">
            <p:oleObj spid="_x0000_s51641" name="think-cell Slide" r:id="rId10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1645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4963" y="1990725"/>
            <a:ext cx="4756150" cy="1255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51646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2075" y="336550"/>
            <a:ext cx="7385050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63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51651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5165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51654" name="navigation8" descr="ujkm,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655" name="Picture 47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139700" y="119063"/>
            <a:ext cx="11080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316" r:id="rId1"/>
    <p:sldLayoutId id="2147484264" r:id="rId2"/>
    <p:sldLayoutId id="2147484317" r:id="rId3"/>
    <p:sldLayoutId id="2147484318" r:id="rId4"/>
    <p:sldLayoutId id="2147484319" r:id="rId5"/>
    <p:sldLayoutId id="2147484320" r:id="rId6"/>
  </p:sldLayoutIdLst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688" name="Object 440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76213" cy="161925"/>
        </p:xfrm>
        <a:graphic>
          <a:graphicData uri="http://schemas.openxmlformats.org/presentationml/2006/ole">
            <p:oleObj spid="_x0000_s53688" name="think-cell Slide" r:id="rId8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39201" y="1984375"/>
            <a:ext cx="1979612" cy="84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76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57469" y="4202907"/>
            <a:ext cx="1743075" cy="84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76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369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4963" y="1990725"/>
            <a:ext cx="4756150" cy="1208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5369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2075" y="344488"/>
            <a:ext cx="7385050" cy="28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49313" cy="214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85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69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763" y="6262688"/>
            <a:ext cx="9450387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15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/>
          <a:p>
            <a:pPr marL="601404" indent="-601404" defTabSz="883312">
              <a:tabLst>
                <a:tab pos="604536" algn="l"/>
              </a:tabLst>
              <a:defRPr/>
            </a:pPr>
            <a:r>
              <a:rPr lang="ru-RU" sz="1015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53698" name="ACET" hidden="1"/>
          <p:cNvGrpSpPr>
            <a:grpSpLocks/>
          </p:cNvGrpSpPr>
          <p:nvPr/>
        </p:nvGrpSpPr>
        <p:grpSpPr bwMode="auto">
          <a:xfrm>
            <a:off x="1604963" y="1157288"/>
            <a:ext cx="4714875" cy="511175"/>
            <a:chOff x="915" y="714"/>
            <a:chExt cx="2686" cy="316"/>
          </a:xfrm>
        </p:grpSpPr>
        <p:cxnSp>
          <p:nvCxnSpPr>
            <p:cNvPr id="53703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69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69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53701" name="navigation8" descr="ujkm,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702" name="Picture 47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39700" y="119063"/>
            <a:ext cx="11080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321" r:id="rId1"/>
    <p:sldLayoutId id="2147484322" r:id="rId2"/>
    <p:sldLayoutId id="2147484323" r:id="rId3"/>
    <p:sldLayoutId id="2147484324" r:id="rId4"/>
  </p:sldLayoutIdLst>
  <p:hf hdr="0" ftr="0" dt="0"/>
  <p:txStyles>
    <p:titleStyle>
      <a:lvl1pPr algn="l" defTabSz="882650" rtl="0" eaLnBrk="0" fontAlgn="base" hangingPunct="0">
        <a:spcBef>
          <a:spcPct val="0"/>
        </a:spcBef>
        <a:spcAft>
          <a:spcPct val="0"/>
        </a:spcAft>
        <a:tabLst>
          <a:tab pos="350838" algn="l"/>
        </a:tabLst>
        <a:defRPr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82650" rtl="0" eaLnBrk="0" fontAlgn="base" hangingPunct="0">
        <a:spcBef>
          <a:spcPct val="0"/>
        </a:spcBef>
        <a:spcAft>
          <a:spcPct val="0"/>
        </a:spcAft>
        <a:tabLst>
          <a:tab pos="350838" algn="l"/>
        </a:tabLst>
        <a:defRPr b="1">
          <a:solidFill>
            <a:schemeClr val="tx2"/>
          </a:solidFill>
          <a:latin typeface="Arial" charset="0"/>
        </a:defRPr>
      </a:lvl2pPr>
      <a:lvl3pPr algn="l" defTabSz="882650" rtl="0" eaLnBrk="0" fontAlgn="base" hangingPunct="0">
        <a:spcBef>
          <a:spcPct val="0"/>
        </a:spcBef>
        <a:spcAft>
          <a:spcPct val="0"/>
        </a:spcAft>
        <a:tabLst>
          <a:tab pos="350838" algn="l"/>
        </a:tabLst>
        <a:defRPr b="1">
          <a:solidFill>
            <a:schemeClr val="tx2"/>
          </a:solidFill>
          <a:latin typeface="Arial" charset="0"/>
        </a:defRPr>
      </a:lvl3pPr>
      <a:lvl4pPr algn="l" defTabSz="882650" rtl="0" eaLnBrk="0" fontAlgn="base" hangingPunct="0">
        <a:spcBef>
          <a:spcPct val="0"/>
        </a:spcBef>
        <a:spcAft>
          <a:spcPct val="0"/>
        </a:spcAft>
        <a:tabLst>
          <a:tab pos="350838" algn="l"/>
        </a:tabLst>
        <a:defRPr b="1">
          <a:solidFill>
            <a:schemeClr val="tx2"/>
          </a:solidFill>
          <a:latin typeface="Arial" charset="0"/>
        </a:defRPr>
      </a:lvl4pPr>
      <a:lvl5pPr algn="l" defTabSz="882650" rtl="0" eaLnBrk="0" fontAlgn="base" hangingPunct="0">
        <a:spcBef>
          <a:spcPct val="0"/>
        </a:spcBef>
        <a:spcAft>
          <a:spcPct val="0"/>
        </a:spcAft>
        <a:tabLst>
          <a:tab pos="350838" algn="l"/>
        </a:tabLst>
        <a:defRPr b="1">
          <a:solidFill>
            <a:schemeClr val="tx2"/>
          </a:solidFill>
          <a:latin typeface="Arial" charset="0"/>
        </a:defRPr>
      </a:lvl5pPr>
      <a:lvl6pPr marL="451053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6pPr>
      <a:lvl7pPr marL="902106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7pPr>
      <a:lvl8pPr marL="1353160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8pPr>
      <a:lvl9pPr marL="1804213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826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190500" indent="-188913" algn="l" defTabSz="8826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00">
          <a:solidFill>
            <a:schemeClr val="tx1"/>
          </a:solidFill>
          <a:latin typeface="+mn-lt"/>
        </a:defRPr>
      </a:lvl2pPr>
      <a:lvl3pPr marL="450850" indent="-257175" algn="l" defTabSz="8826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0">
          <a:solidFill>
            <a:schemeClr val="tx1"/>
          </a:solidFill>
          <a:latin typeface="+mn-lt"/>
        </a:defRPr>
      </a:lvl3pPr>
      <a:lvl4pPr marL="604838" indent="-152400" algn="l" defTabSz="8826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00">
          <a:solidFill>
            <a:schemeClr val="tx1"/>
          </a:solidFill>
          <a:latin typeface="+mn-lt"/>
        </a:defRPr>
      </a:lvl4pPr>
      <a:lvl5pPr marL="738188" indent="-127000" algn="l" defTabSz="8826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>
          <a:solidFill>
            <a:schemeClr val="tx1"/>
          </a:solidFill>
          <a:latin typeface="+mn-lt"/>
        </a:defRPr>
      </a:lvl5pPr>
      <a:lvl6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6pPr>
      <a:lvl7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7pPr>
      <a:lvl8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8pPr>
      <a:lvl9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1pPr>
      <a:lvl2pPr marL="451053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2pPr>
      <a:lvl3pPr marL="90210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3pPr>
      <a:lvl4pPr marL="1353160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4pPr>
      <a:lvl5pPr marL="1804213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5pPr>
      <a:lvl6pPr marL="225526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6pPr>
      <a:lvl7pPr marL="2706319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7pPr>
      <a:lvl8pPr marL="3157372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8pPr>
      <a:lvl9pPr marL="360842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736" name="Object 440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76213" cy="161925"/>
        </p:xfrm>
        <a:graphic>
          <a:graphicData uri="http://schemas.openxmlformats.org/presentationml/2006/ole">
            <p:oleObj spid="_x0000_s55736" name="think-cell Slide" r:id="rId8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574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4963" y="1990725"/>
            <a:ext cx="4756150" cy="1255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55741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2075" y="336550"/>
            <a:ext cx="7385050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63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55746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55751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55749" name="navigation8" descr="ujkm,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5750" name="Picture 47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39700" y="119063"/>
            <a:ext cx="11080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325" r:id="rId1"/>
    <p:sldLayoutId id="2147484326" r:id="rId2"/>
    <p:sldLayoutId id="2147484327" r:id="rId3"/>
    <p:sldLayoutId id="2147484328" r:id="rId4"/>
  </p:sldLayoutIdLst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784" name="Object 440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76213" cy="161925"/>
        </p:xfrm>
        <a:graphic>
          <a:graphicData uri="http://schemas.openxmlformats.org/presentationml/2006/ole">
            <p:oleObj spid="_x0000_s57784" name="think-cell Slide" r:id="rId8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68569" y="1985169"/>
            <a:ext cx="1920875" cy="84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46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84457" y="4202906"/>
            <a:ext cx="1689100" cy="84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46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778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4963" y="1990725"/>
            <a:ext cx="4756150" cy="1182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5778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2075" y="347663"/>
            <a:ext cx="7385050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27088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56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37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763" y="6265863"/>
            <a:ext cx="9450387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94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/>
          <a:p>
            <a:pPr marL="588905" indent="-588905" defTabSz="864955">
              <a:tabLst>
                <a:tab pos="591973" algn="l"/>
              </a:tabLst>
              <a:defRPr/>
            </a:pPr>
            <a:r>
              <a:rPr lang="ru-RU" sz="994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57794" name="ACET" hidden="1"/>
          <p:cNvGrpSpPr>
            <a:grpSpLocks/>
          </p:cNvGrpSpPr>
          <p:nvPr/>
        </p:nvGrpSpPr>
        <p:grpSpPr bwMode="auto">
          <a:xfrm>
            <a:off x="1604963" y="1166813"/>
            <a:ext cx="4714875" cy="501650"/>
            <a:chOff x="915" y="720"/>
            <a:chExt cx="2686" cy="310"/>
          </a:xfrm>
        </p:grpSpPr>
        <p:cxnSp>
          <p:nvCxnSpPr>
            <p:cNvPr id="5779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37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37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57797" name="navigation8" descr="ujkm,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798" name="Picture 47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39700" y="119063"/>
            <a:ext cx="11080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329" r:id="rId1"/>
    <p:sldLayoutId id="2147484265" r:id="rId2"/>
    <p:sldLayoutId id="2147484330" r:id="rId3"/>
    <p:sldLayoutId id="2147484331" r:id="rId4"/>
  </p:sldLayoutIdLst>
  <p:hf hdr="0" ftr="0" dt="0"/>
  <p:txStyles>
    <p:titleStyle>
      <a:lvl1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2pPr>
      <a:lvl3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3pPr>
      <a:lvl4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4pPr>
      <a:lvl5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5pPr>
      <a:lvl6pPr marL="441679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6pPr>
      <a:lvl7pPr marL="883358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7pPr>
      <a:lvl8pPr marL="1325037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8pPr>
      <a:lvl9pPr marL="1766716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185738" indent="-184150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00">
          <a:solidFill>
            <a:schemeClr val="tx1"/>
          </a:solidFill>
          <a:latin typeface="+mn-lt"/>
        </a:defRPr>
      </a:lvl2pPr>
      <a:lvl3pPr marL="441325" indent="-252413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0">
          <a:solidFill>
            <a:schemeClr val="tx1"/>
          </a:solidFill>
          <a:latin typeface="+mn-lt"/>
        </a:defRPr>
      </a:lvl3pPr>
      <a:lvl4pPr marL="592138" indent="-149225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00">
          <a:solidFill>
            <a:schemeClr val="tx1"/>
          </a:solidFill>
          <a:latin typeface="+mn-lt"/>
        </a:defRPr>
      </a:lvl4pPr>
      <a:lvl5pPr marL="723900" indent="-125413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>
          <a:solidFill>
            <a:schemeClr val="tx1"/>
          </a:solidFill>
          <a:latin typeface="+mn-lt"/>
        </a:defRPr>
      </a:lvl5pPr>
      <a:lvl6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6pPr>
      <a:lvl7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7pPr>
      <a:lvl8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8pPr>
      <a:lvl9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1pPr>
      <a:lvl2pPr marL="441679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2pPr>
      <a:lvl3pPr marL="883358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3pPr>
      <a:lvl4pPr marL="1325037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4pPr>
      <a:lvl5pPr marL="1766716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5pPr>
      <a:lvl6pPr marL="2208395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6pPr>
      <a:lvl7pPr marL="265007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7pPr>
      <a:lvl8pPr marL="309175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8pPr>
      <a:lvl9pPr marL="353343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976" name="Object 440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76213" cy="161925"/>
        </p:xfrm>
        <a:graphic>
          <a:graphicData uri="http://schemas.openxmlformats.org/presentationml/2006/ole">
            <p:oleObj spid="_x0000_s65976" name="think-cell Slide" r:id="rId8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598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4963" y="1990725"/>
            <a:ext cx="4756150" cy="1255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65981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2075" y="336550"/>
            <a:ext cx="7385050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63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65986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65991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65989" name="navigation8" descr="ujkm,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990" name="Picture 47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39700" y="119063"/>
            <a:ext cx="11080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332" r:id="rId1"/>
    <p:sldLayoutId id="2147484333" r:id="rId2"/>
    <p:sldLayoutId id="2147484334" r:id="rId3"/>
    <p:sldLayoutId id="2147484335" r:id="rId4"/>
  </p:sldLayoutIdLst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024" name="Object 440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76213" cy="161925"/>
        </p:xfrm>
        <a:graphic>
          <a:graphicData uri="http://schemas.openxmlformats.org/presentationml/2006/ole">
            <p:oleObj spid="_x0000_s68024" name="think-cell Slide" r:id="rId7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682832" y="1977231"/>
            <a:ext cx="2292350" cy="100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43" dirty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143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20944" y="4194969"/>
            <a:ext cx="2016125" cy="100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43" dirty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143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802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4963" y="1990725"/>
            <a:ext cx="4756150" cy="130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6802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2075" y="331788"/>
            <a:ext cx="73850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6300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8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43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763" y="6275388"/>
            <a:ext cx="9450387" cy="146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28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46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/>
          <a:p>
            <a:pPr marL="621788" indent="-621788" defTabSz="913251">
              <a:tabLst>
                <a:tab pos="625027" algn="l"/>
              </a:tabLst>
              <a:defRPr/>
            </a:pPr>
            <a:r>
              <a:rPr lang="ru-RU" sz="928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68034" name="ACET" hidden="1"/>
          <p:cNvGrpSpPr>
            <a:grpSpLocks/>
          </p:cNvGrpSpPr>
          <p:nvPr/>
        </p:nvGrpSpPr>
        <p:grpSpPr bwMode="auto">
          <a:xfrm>
            <a:off x="1604963" y="1133475"/>
            <a:ext cx="4714875" cy="534988"/>
            <a:chOff x="915" y="700"/>
            <a:chExt cx="2686" cy="330"/>
          </a:xfrm>
        </p:grpSpPr>
        <p:cxnSp>
          <p:nvCxnSpPr>
            <p:cNvPr id="6803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0"/>
              <a:ext cx="2686" cy="33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43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43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73" tIns="93273" rIns="93273" bIns="93273" anchor="ctr"/>
          <a:lstStyle/>
          <a:p>
            <a:pPr defTabSz="932962">
              <a:defRPr/>
            </a:pPr>
            <a:endParaRPr lang="ru-RU" sz="1786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73" tIns="93273" rIns="93273" bIns="93273" anchor="ctr"/>
          <a:lstStyle/>
          <a:p>
            <a:pPr defTabSz="932962">
              <a:defRPr/>
            </a:pPr>
            <a:endParaRPr lang="ru-RU" sz="1786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68037" name="navigation8" descr="ujkm,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8038" name="Picture 47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39700" y="119063"/>
            <a:ext cx="1108075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336" r:id="rId1"/>
    <p:sldLayoutId id="2147484337" r:id="rId2"/>
    <p:sldLayoutId id="2147484338" r:id="rId3"/>
  </p:sldLayoutIdLst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5pPr>
      <a:lvl6pPr marL="466340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6pPr>
      <a:lvl7pPr marL="932683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7pPr>
      <a:lvl8pPr marL="1399022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8pPr>
      <a:lvl9pPr marL="1865363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6pPr>
      <a:lvl7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7pPr>
      <a:lvl8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8pPr>
      <a:lvl9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1pPr>
      <a:lvl2pPr marL="466340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2pPr>
      <a:lvl3pPr marL="932683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3pPr>
      <a:lvl4pPr marL="1399022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1865363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331705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6pPr>
      <a:lvl7pPr marL="2798046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3264388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3730729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3.xml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20750" y="3175"/>
            <a:ext cx="8424863" cy="938213"/>
          </a:xfrm>
        </p:spPr>
        <p:txBody>
          <a:bodyPr lIns="0" tIns="0" rIns="0" bIns="0" rtlCol="0">
            <a:spAutoFit/>
          </a:bodyPr>
          <a:lstStyle/>
          <a:p>
            <a:pPr defTabSz="957824" eaLnBrk="1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очка 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а </a:t>
            </a:r>
            <a:r>
              <a:rPr lang="ru-RU" sz="1800" dirty="0">
                <a:solidFill>
                  <a:srgbClr val="002060"/>
                </a:solidFill>
                <a:latin typeface="Arial" panose="020B06040202020202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«Оптимизация процесса  регистрации </a:t>
            </a:r>
            <a:br>
              <a:rPr lang="ru-RU" sz="1800" dirty="0">
                <a:solidFill>
                  <a:srgbClr val="002060"/>
                </a:solidFill>
                <a:latin typeface="Arial" panose="020B0604020202020204" pitchFamily="34" charset="0"/>
                <a:ea typeface="Fira Sans" panose="020B0603050000020004" pitchFamily="34" charset="0"/>
                <a:cs typeface="Arial" panose="020B0604020202020204" pitchFamily="34" charset="0"/>
              </a:rPr>
            </a:br>
            <a:r>
              <a:rPr lang="ru-RU" sz="1800" dirty="0">
                <a:solidFill>
                  <a:srgbClr val="002060"/>
                </a:solidFill>
                <a:latin typeface="Arial" panose="020B0604020202020204" pitchFamily="34" charset="0"/>
                <a:ea typeface="Fira Sans" panose="020B0603050000020004" pitchFamily="34" charset="0"/>
                <a:cs typeface="Arial" panose="020B0604020202020204" pitchFamily="34" charset="0"/>
              </a:rPr>
              <a:t>коллективных договоров</a:t>
            </a:r>
            <a:r>
              <a:rPr lang="ru-RU" sz="18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»</a:t>
            </a:r>
            <a:br>
              <a:rPr lang="ru-RU" sz="18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lang="ru-RU" altLang="ru-RU" sz="1800" dirty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66594" name="Group 2"/>
          <p:cNvGrpSpPr>
            <a:grpSpLocks/>
          </p:cNvGrpSpPr>
          <p:nvPr/>
        </p:nvGrpSpPr>
        <p:grpSpPr bwMode="auto">
          <a:xfrm>
            <a:off x="344488" y="765175"/>
            <a:ext cx="9315450" cy="5721350"/>
            <a:chOff x="251520" y="821517"/>
            <a:chExt cx="8774343" cy="6007839"/>
          </a:xfrm>
        </p:grpSpPr>
        <p:sp>
          <p:nvSpPr>
            <p:cNvPr id="9" name="Прямоугольник 33">
              <a:extLst>
                <a:ext uri="{FF2B5EF4-FFF2-40B4-BE49-F238E27FC236}"/>
              </a:extLst>
            </p:cNvPr>
            <p:cNvSpPr>
              <a:spLocks noChangeArrowheads="1"/>
            </p:cNvSpPr>
            <p:nvPr/>
          </p:nvSpPr>
          <p:spPr bwMode="auto">
            <a:xfrm>
              <a:off x="251520" y="821517"/>
              <a:ext cx="4212222" cy="2907234"/>
            </a:xfrm>
            <a:prstGeom prst="rect">
              <a:avLst/>
            </a:prstGeom>
            <a:solidFill>
              <a:srgbClr val="FFFFFF"/>
            </a:solidFill>
            <a:ln w="25400" algn="ctr">
              <a:solidFill>
                <a:srgbClr val="BCBCBC"/>
              </a:solidFill>
              <a:miter lim="800000"/>
              <a:headEnd/>
              <a:tailEnd/>
            </a:ln>
            <a:effectLst>
              <a:outerShdw dist="38100" dir="2700000" algn="tl" rotWithShape="0">
                <a:srgbClr val="000000">
                  <a:alpha val="39999"/>
                </a:srgbClr>
              </a:outerShdw>
            </a:effectLst>
          </p:spPr>
          <p:txBody>
            <a:bodyPr lIns="93296" tIns="46648" rIns="93296" bIns="46648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58825" indent="-2921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66813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31950" indent="-231775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98675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558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30130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702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9274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altLang="ru-RU" sz="1600">
                <a:solidFill>
                  <a:srgbClr val="FFFFFF"/>
                </a:solidFill>
              </a:endParaRPr>
            </a:p>
          </p:txBody>
        </p:sp>
        <p:sp>
          <p:nvSpPr>
            <p:cNvPr id="10" name="Прямоугольник 34">
              <a:extLst>
                <a:ext uri="{FF2B5EF4-FFF2-40B4-BE49-F238E27FC236}"/>
              </a:extLst>
            </p:cNvPr>
            <p:cNvSpPr>
              <a:spLocks noChangeArrowheads="1"/>
            </p:cNvSpPr>
            <p:nvPr/>
          </p:nvSpPr>
          <p:spPr bwMode="auto">
            <a:xfrm>
              <a:off x="251520" y="3728751"/>
              <a:ext cx="4212222" cy="3100605"/>
            </a:xfrm>
            <a:prstGeom prst="rect">
              <a:avLst/>
            </a:prstGeom>
            <a:solidFill>
              <a:srgbClr val="FFFFFF"/>
            </a:solidFill>
            <a:ln w="25400" algn="ctr">
              <a:solidFill>
                <a:srgbClr val="BCBCBC"/>
              </a:solidFill>
              <a:miter lim="800000"/>
              <a:headEnd/>
              <a:tailEnd/>
            </a:ln>
            <a:effectLst>
              <a:outerShdw dist="38100" dir="2700000" algn="tl" rotWithShape="0">
                <a:srgbClr val="000000">
                  <a:alpha val="39999"/>
                </a:srgbClr>
              </a:outerShdw>
            </a:effectLst>
          </p:spPr>
          <p:txBody>
            <a:bodyPr lIns="93296" tIns="46648" rIns="93296" bIns="46648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58825" indent="-2921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66813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31950" indent="-231775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98675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558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30130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702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9274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altLang="ru-RU" sz="1600">
                <a:solidFill>
                  <a:srgbClr val="FFFFFF"/>
                </a:solidFill>
              </a:endParaRPr>
            </a:p>
          </p:txBody>
        </p:sp>
        <p:sp>
          <p:nvSpPr>
            <p:cNvPr id="11" name="Прямоугольник 35">
              <a:extLst>
                <a:ext uri="{FF2B5EF4-FFF2-40B4-BE49-F238E27FC236}"/>
              </a:extLst>
            </p:cNvPr>
            <p:cNvSpPr>
              <a:spLocks noChangeArrowheads="1"/>
            </p:cNvSpPr>
            <p:nvPr/>
          </p:nvSpPr>
          <p:spPr bwMode="auto">
            <a:xfrm>
              <a:off x="4463742" y="821517"/>
              <a:ext cx="4496328" cy="2952243"/>
            </a:xfrm>
            <a:prstGeom prst="rect">
              <a:avLst/>
            </a:prstGeom>
            <a:solidFill>
              <a:srgbClr val="FFFFFF"/>
            </a:solidFill>
            <a:ln w="25400" algn="ctr">
              <a:solidFill>
                <a:srgbClr val="BCBCBC"/>
              </a:solidFill>
              <a:miter lim="800000"/>
              <a:headEnd/>
              <a:tailEnd/>
            </a:ln>
            <a:effectLst>
              <a:outerShdw dist="38100" dir="2700000" algn="tl" rotWithShape="0">
                <a:srgbClr val="000000">
                  <a:alpha val="39999"/>
                </a:srgbClr>
              </a:outerShdw>
            </a:effectLst>
          </p:spPr>
          <p:txBody>
            <a:bodyPr lIns="93296" tIns="46648" rIns="93296" bIns="46648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58825" indent="-2921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66813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31950" indent="-231775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98675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558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30130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702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9274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altLang="ru-RU" sz="900">
                <a:solidFill>
                  <a:srgbClr val="414142"/>
                </a:solidFill>
              </a:endParaRPr>
            </a:p>
          </p:txBody>
        </p:sp>
        <p:sp>
          <p:nvSpPr>
            <p:cNvPr id="12" name="Прямоугольник 36">
              <a:extLst>
                <a:ext uri="{FF2B5EF4-FFF2-40B4-BE49-F238E27FC236}"/>
              </a:extLst>
            </p:cNvPr>
            <p:cNvSpPr>
              <a:spLocks noChangeArrowheads="1"/>
            </p:cNvSpPr>
            <p:nvPr/>
          </p:nvSpPr>
          <p:spPr bwMode="auto">
            <a:xfrm>
              <a:off x="4463742" y="3728751"/>
              <a:ext cx="4496328" cy="3100605"/>
            </a:xfrm>
            <a:prstGeom prst="rect">
              <a:avLst/>
            </a:prstGeom>
            <a:solidFill>
              <a:srgbClr val="FFFFFF"/>
            </a:solidFill>
            <a:ln w="25400" algn="ctr">
              <a:solidFill>
                <a:srgbClr val="BCBCBC"/>
              </a:solidFill>
              <a:miter lim="800000"/>
              <a:headEnd/>
              <a:tailEnd/>
            </a:ln>
            <a:effectLst>
              <a:outerShdw dist="38100" dir="2700000" algn="tl" rotWithShape="0">
                <a:srgbClr val="000000">
                  <a:alpha val="39999"/>
                </a:srgbClr>
              </a:outerShdw>
            </a:effectLst>
          </p:spPr>
          <p:txBody>
            <a:bodyPr lIns="93296" tIns="46648" rIns="93296" bIns="46648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58825" indent="-2921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66813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31950" indent="-231775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98675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558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30130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702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9274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altLang="ru-RU" sz="1600">
                <a:solidFill>
                  <a:srgbClr val="FFFFFF"/>
                </a:solidFill>
              </a:endParaRPr>
            </a:p>
          </p:txBody>
        </p:sp>
        <p:sp>
          <p:nvSpPr>
            <p:cNvPr id="366620" name="TextBox 12"/>
            <p:cNvSpPr txBox="1">
              <a:spLocks noChangeArrowheads="1"/>
            </p:cNvSpPr>
            <p:nvPr/>
          </p:nvSpPr>
          <p:spPr bwMode="auto">
            <a:xfrm>
              <a:off x="4725813" y="3784372"/>
              <a:ext cx="4234709" cy="2674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3296" tIns="46648" rIns="93296" bIns="46648">
              <a:spAutoFit/>
            </a:bodyPr>
            <a:lstStyle/>
            <a:p>
              <a:pPr algn="ctr" defTabSz="933450"/>
              <a:r>
                <a:rPr lang="en-US" altLang="ru-RU" sz="1000" b="1" u="sng">
                  <a:solidFill>
                    <a:srgbClr val="2E658E"/>
                  </a:solidFill>
                </a:rPr>
                <a:t>4</a:t>
              </a:r>
              <a:r>
                <a:rPr lang="ru-RU" altLang="ru-RU" sz="1000" b="1" u="sng">
                  <a:solidFill>
                    <a:srgbClr val="2E658E"/>
                  </a:solidFill>
                </a:rPr>
                <a:t>. Ключевые события проекта</a:t>
              </a:r>
            </a:p>
          </p:txBody>
        </p:sp>
        <p:sp>
          <p:nvSpPr>
            <p:cNvPr id="366621" name="TextBox 13"/>
            <p:cNvSpPr txBox="1">
              <a:spLocks noChangeArrowheads="1"/>
            </p:cNvSpPr>
            <p:nvPr/>
          </p:nvSpPr>
          <p:spPr bwMode="auto">
            <a:xfrm>
              <a:off x="312194" y="3804911"/>
              <a:ext cx="4234709" cy="2674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3296" tIns="46648" rIns="93296" bIns="46648">
              <a:spAutoFit/>
            </a:bodyPr>
            <a:lstStyle/>
            <a:p>
              <a:pPr algn="ctr" defTabSz="933450"/>
              <a:r>
                <a:rPr lang="en-US" altLang="ru-RU" sz="1000" b="1" u="sng">
                  <a:solidFill>
                    <a:srgbClr val="2E658E"/>
                  </a:solidFill>
                </a:rPr>
                <a:t>3</a:t>
              </a:r>
              <a:r>
                <a:rPr lang="ru-RU" altLang="ru-RU" sz="1000" b="1" u="sng">
                  <a:solidFill>
                    <a:srgbClr val="2E658E"/>
                  </a:solidFill>
                </a:rPr>
                <a:t>. Цели и плановый эффект</a:t>
              </a:r>
            </a:p>
          </p:txBody>
        </p:sp>
        <p:sp>
          <p:nvSpPr>
            <p:cNvPr id="366622" name="TextBox 14"/>
            <p:cNvSpPr txBox="1">
              <a:spLocks noChangeArrowheads="1"/>
            </p:cNvSpPr>
            <p:nvPr/>
          </p:nvSpPr>
          <p:spPr bwMode="auto">
            <a:xfrm>
              <a:off x="4744471" y="924201"/>
              <a:ext cx="4211374" cy="2674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3296" tIns="46648" rIns="93296" bIns="46648">
              <a:spAutoFit/>
            </a:bodyPr>
            <a:lstStyle/>
            <a:p>
              <a:pPr algn="ctr" defTabSz="933450"/>
              <a:r>
                <a:rPr lang="en-US" altLang="ru-RU" sz="1000" b="1" u="sng">
                  <a:solidFill>
                    <a:srgbClr val="2E658E"/>
                  </a:solidFill>
                </a:rPr>
                <a:t>2</a:t>
              </a:r>
              <a:r>
                <a:rPr lang="ru-RU" altLang="ru-RU" sz="1000" b="1" u="sng">
                  <a:solidFill>
                    <a:srgbClr val="2E658E"/>
                  </a:solidFill>
                </a:rPr>
                <a:t>. Обоснование выбора</a:t>
              </a:r>
            </a:p>
          </p:txBody>
        </p:sp>
        <p:sp>
          <p:nvSpPr>
            <p:cNvPr id="366623" name="TextBox 65"/>
            <p:cNvSpPr txBox="1">
              <a:spLocks noChangeArrowheads="1"/>
            </p:cNvSpPr>
            <p:nvPr/>
          </p:nvSpPr>
          <p:spPr bwMode="auto">
            <a:xfrm>
              <a:off x="384601" y="2860248"/>
              <a:ext cx="3866811" cy="2567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3296" tIns="46648" rIns="93296" bIns="46648">
              <a:spAutoFit/>
            </a:bodyPr>
            <a:lstStyle/>
            <a:p>
              <a:pPr defTabSz="933450"/>
              <a:r>
                <a:rPr lang="ru-RU" altLang="ru-RU" sz="1000" b="1" u="sng">
                  <a:solidFill>
                    <a:srgbClr val="2E658E"/>
                  </a:solidFill>
                </a:rPr>
                <a:t>Руководитель проекта</a:t>
              </a:r>
              <a:r>
                <a:rPr lang="en-US" altLang="ru-RU" sz="1000" b="1" u="sng">
                  <a:solidFill>
                    <a:srgbClr val="2E658E"/>
                  </a:solidFill>
                </a:rPr>
                <a:t>:</a:t>
              </a:r>
              <a:r>
                <a:rPr lang="ru-RU" altLang="ru-RU" sz="1000" b="1" u="sng">
                  <a:solidFill>
                    <a:srgbClr val="2E658E"/>
                  </a:solidFill>
                </a:rPr>
                <a:t> </a:t>
              </a:r>
              <a:r>
                <a:rPr lang="en-US" altLang="ru-RU" sz="1000">
                  <a:solidFill>
                    <a:srgbClr val="414142"/>
                  </a:solidFill>
                </a:rPr>
                <a:t> </a:t>
              </a:r>
              <a:r>
                <a:rPr lang="ru-RU" altLang="ru-RU" sz="1000">
                  <a:solidFill>
                    <a:srgbClr val="414142"/>
                  </a:solidFill>
                </a:rPr>
                <a:t>Андреева Елена Анатольевна</a:t>
              </a:r>
              <a:endParaRPr lang="ru-RU" altLang="ru-RU" sz="1000" b="1" u="sng">
                <a:solidFill>
                  <a:srgbClr val="2E658E"/>
                </a:solidFill>
              </a:endParaRPr>
            </a:p>
          </p:txBody>
        </p:sp>
        <p:sp>
          <p:nvSpPr>
            <p:cNvPr id="366624" name="TextBox 65"/>
            <p:cNvSpPr txBox="1">
              <a:spLocks noChangeArrowheads="1"/>
            </p:cNvSpPr>
            <p:nvPr/>
          </p:nvSpPr>
          <p:spPr bwMode="auto">
            <a:xfrm>
              <a:off x="402544" y="1191589"/>
              <a:ext cx="4275025" cy="2567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3296" tIns="46648" rIns="93296" bIns="46648">
              <a:spAutoFit/>
            </a:bodyPr>
            <a:lstStyle/>
            <a:p>
              <a:pPr defTabSz="933450"/>
              <a:r>
                <a:rPr lang="ru-RU" altLang="ru-RU" sz="1000" b="1" u="sng">
                  <a:solidFill>
                    <a:srgbClr val="2E658E"/>
                  </a:solidFill>
                </a:rPr>
                <a:t>Заказчики процесса</a:t>
              </a:r>
              <a:r>
                <a:rPr lang="en-US" altLang="ru-RU" sz="1000" b="1" u="sng">
                  <a:solidFill>
                    <a:srgbClr val="2E658E"/>
                  </a:solidFill>
                </a:rPr>
                <a:t>:</a:t>
              </a:r>
              <a:r>
                <a:rPr lang="ru-RU" altLang="ru-RU" sz="1000" b="1">
                  <a:solidFill>
                    <a:srgbClr val="2E658E"/>
                  </a:solidFill>
                </a:rPr>
                <a:t> </a:t>
              </a:r>
              <a:r>
                <a:rPr lang="ru-RU" altLang="ru-RU" sz="1000">
                  <a:solidFill>
                    <a:srgbClr val="414142"/>
                  </a:solidFill>
                </a:rPr>
                <a:t>организации Кромского района</a:t>
              </a:r>
            </a:p>
          </p:txBody>
        </p:sp>
        <p:sp>
          <p:nvSpPr>
            <p:cNvPr id="366625" name="TextBox 65"/>
            <p:cNvSpPr txBox="1">
              <a:spLocks noChangeArrowheads="1"/>
            </p:cNvSpPr>
            <p:nvPr/>
          </p:nvSpPr>
          <p:spPr bwMode="auto">
            <a:xfrm>
              <a:off x="378619" y="3148638"/>
              <a:ext cx="3911671" cy="5767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3296" tIns="46648" rIns="93296" bIns="46648">
              <a:spAutoFit/>
            </a:bodyPr>
            <a:lstStyle/>
            <a:p>
              <a:pPr defTabSz="933450"/>
              <a:r>
                <a:rPr lang="ru-RU" altLang="ru-RU" sz="1000" b="1" u="sng">
                  <a:solidFill>
                    <a:srgbClr val="2E658E"/>
                  </a:solidFill>
                </a:rPr>
                <a:t>Команда проекта</a:t>
              </a:r>
              <a:r>
                <a:rPr lang="en-US" altLang="ru-RU" sz="1000" b="1" u="sng">
                  <a:solidFill>
                    <a:srgbClr val="2E658E"/>
                  </a:solidFill>
                </a:rPr>
                <a:t>:</a:t>
              </a:r>
              <a:r>
                <a:rPr lang="ru-RU" altLang="ru-RU" sz="1000" b="1">
                  <a:solidFill>
                    <a:srgbClr val="414142"/>
                  </a:solidFill>
                </a:rPr>
                <a:t>  </a:t>
              </a:r>
              <a:r>
                <a:rPr lang="ru-RU" altLang="ru-RU" sz="1000">
                  <a:solidFill>
                    <a:srgbClr val="414142"/>
                  </a:solidFill>
                </a:rPr>
                <a:t>Андреева Елена Анатольевна, Титова Елена Владимировна, Красникова Татьяна Валерьевна, Чучина Марина Вячеславовна</a:t>
              </a:r>
            </a:p>
          </p:txBody>
        </p:sp>
        <p:sp>
          <p:nvSpPr>
            <p:cNvPr id="366626" name="TextBox 65"/>
            <p:cNvSpPr txBox="1">
              <a:spLocks noChangeArrowheads="1"/>
            </p:cNvSpPr>
            <p:nvPr/>
          </p:nvSpPr>
          <p:spPr bwMode="auto">
            <a:xfrm>
              <a:off x="381610" y="2328478"/>
              <a:ext cx="3869802" cy="5767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3296" tIns="46648" rIns="93296" bIns="46648">
              <a:spAutoFit/>
            </a:bodyPr>
            <a:lstStyle/>
            <a:p>
              <a:pPr defTabSz="933450"/>
              <a:r>
                <a:rPr lang="ru-RU" altLang="ru-RU" sz="1000" b="1" u="sng">
                  <a:solidFill>
                    <a:srgbClr val="2E658E"/>
                  </a:solidFill>
                </a:rPr>
                <a:t>Владелец процесса</a:t>
              </a:r>
              <a:r>
                <a:rPr lang="en-US" altLang="ru-RU" sz="1000" b="1" u="sng">
                  <a:solidFill>
                    <a:srgbClr val="2E658E"/>
                  </a:solidFill>
                </a:rPr>
                <a:t>:</a:t>
              </a:r>
              <a:r>
                <a:rPr lang="ru-RU" altLang="ru-RU" sz="1000" b="1" u="sng">
                  <a:solidFill>
                    <a:srgbClr val="2E658E"/>
                  </a:solidFill>
                </a:rPr>
                <a:t> </a:t>
              </a:r>
              <a:r>
                <a:rPr lang="ru-RU" altLang="ru-RU" sz="1000">
                  <a:solidFill>
                    <a:srgbClr val="000000"/>
                  </a:solidFill>
                </a:rPr>
                <a:t>отдел по экономике, предпринимательству и труду администрации Кромского района</a:t>
              </a:r>
            </a:p>
            <a:p>
              <a:pPr defTabSz="933450"/>
              <a:r>
                <a:rPr lang="ru-RU" altLang="ru-RU" sz="1000" b="1">
                  <a:solidFill>
                    <a:srgbClr val="2E658E"/>
                  </a:solidFill>
                </a:rPr>
                <a:t>   </a:t>
              </a:r>
              <a:endParaRPr lang="ru-RU" altLang="ru-RU" sz="1000">
                <a:solidFill>
                  <a:srgbClr val="414142"/>
                </a:solidFill>
              </a:endParaRPr>
            </a:p>
          </p:txBody>
        </p:sp>
        <p:sp>
          <p:nvSpPr>
            <p:cNvPr id="366627" name="TextBox 19"/>
            <p:cNvSpPr txBox="1">
              <a:spLocks noChangeArrowheads="1"/>
            </p:cNvSpPr>
            <p:nvPr/>
          </p:nvSpPr>
          <p:spPr bwMode="auto">
            <a:xfrm>
              <a:off x="4400664" y="4469022"/>
              <a:ext cx="4250267" cy="8648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3296" tIns="46648" rIns="93296" bIns="46648">
              <a:spAutoFit/>
            </a:bodyPr>
            <a:lstStyle/>
            <a:p>
              <a:pPr defTabSz="933450">
                <a:spcBef>
                  <a:spcPts val="300"/>
                </a:spcBef>
                <a:spcAft>
                  <a:spcPts val="300"/>
                </a:spcAft>
              </a:pPr>
              <a:endParaRPr lang="ru-RU" altLang="ru-RU" sz="1200">
                <a:solidFill>
                  <a:srgbClr val="414142"/>
                </a:solidFill>
              </a:endParaRPr>
            </a:p>
            <a:p>
              <a:pPr defTabSz="933450">
                <a:spcBef>
                  <a:spcPts val="300"/>
                </a:spcBef>
                <a:spcAft>
                  <a:spcPts val="300"/>
                </a:spcAft>
              </a:pPr>
              <a:endParaRPr lang="en-US" altLang="ru-RU" sz="1200">
                <a:solidFill>
                  <a:srgbClr val="414142"/>
                </a:solidFill>
              </a:endParaRPr>
            </a:p>
            <a:p>
              <a:pPr defTabSz="933450">
                <a:spcBef>
                  <a:spcPts val="300"/>
                </a:spcBef>
                <a:spcAft>
                  <a:spcPts val="300"/>
                </a:spcAft>
              </a:pPr>
              <a:endParaRPr lang="en-US" altLang="ru-RU" sz="1200">
                <a:solidFill>
                  <a:srgbClr val="414142"/>
                </a:solidFill>
              </a:endParaRPr>
            </a:p>
          </p:txBody>
        </p:sp>
        <p:sp>
          <p:nvSpPr>
            <p:cNvPr id="366628" name="TextBox 65"/>
            <p:cNvSpPr txBox="1">
              <a:spLocks noChangeArrowheads="1"/>
            </p:cNvSpPr>
            <p:nvPr/>
          </p:nvSpPr>
          <p:spPr bwMode="auto">
            <a:xfrm>
              <a:off x="381610" y="1474978"/>
              <a:ext cx="3953538" cy="7368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3296" tIns="46648" rIns="93296" bIns="46648">
              <a:spAutoFit/>
            </a:bodyPr>
            <a:lstStyle/>
            <a:p>
              <a:r>
                <a:rPr lang="ru-RU" altLang="ru-RU" sz="1000" b="1" u="sng">
                  <a:solidFill>
                    <a:srgbClr val="2E658E"/>
                  </a:solidFill>
                </a:rPr>
                <a:t>Периметр проекта</a:t>
              </a:r>
              <a:r>
                <a:rPr lang="en-US" altLang="ru-RU" sz="1000" b="1" u="sng">
                  <a:solidFill>
                    <a:srgbClr val="2E658E"/>
                  </a:solidFill>
                </a:rPr>
                <a:t>:</a:t>
              </a:r>
              <a:r>
                <a:rPr lang="ru-RU" altLang="ru-RU" sz="1000" b="1">
                  <a:solidFill>
                    <a:srgbClr val="2E658E"/>
                  </a:solidFill>
                </a:rPr>
                <a:t>  </a:t>
              </a:r>
              <a:r>
                <a:rPr lang="ru-RU" altLang="ru-RU" sz="1000">
                  <a:solidFill>
                    <a:srgbClr val="000000"/>
                  </a:solidFill>
                </a:rPr>
                <a:t>Организации Кромского района , отдел по экономике, предпринимательству и труду администрации Кромского района</a:t>
              </a:r>
            </a:p>
            <a:p>
              <a:endParaRPr lang="ru-RU" altLang="ru-RU" sz="1000">
                <a:solidFill>
                  <a:srgbClr val="414142"/>
                </a:solidFill>
              </a:endParaRPr>
            </a:p>
          </p:txBody>
        </p:sp>
        <p:sp>
          <p:nvSpPr>
            <p:cNvPr id="366629" name="TextBox 14"/>
            <p:cNvSpPr txBox="1">
              <a:spLocks noChangeArrowheads="1"/>
            </p:cNvSpPr>
            <p:nvPr/>
          </p:nvSpPr>
          <p:spPr bwMode="auto">
            <a:xfrm>
              <a:off x="4498135" y="1173252"/>
              <a:ext cx="4527728" cy="17770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3296" tIns="46648" rIns="93296" bIns="46648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ru-RU" altLang="ru-RU" sz="1000" b="1">
                  <a:solidFill>
                    <a:srgbClr val="000000"/>
                  </a:solidFill>
                </a:rPr>
                <a:t>Ключевой риск: </a:t>
              </a:r>
              <a:r>
                <a:rPr lang="ru-RU" altLang="ru-RU" sz="1000">
                  <a:solidFill>
                    <a:srgbClr val="000000"/>
                  </a:solidFill>
                </a:rPr>
                <a:t>невыполнение социально-трудовых отношений в организациях Кромского района.</a:t>
              </a:r>
            </a:p>
            <a:p>
              <a:pPr>
                <a:lnSpc>
                  <a:spcPct val="150000"/>
                </a:lnSpc>
              </a:pPr>
              <a:r>
                <a:rPr lang="ru-RU" altLang="ru-RU" sz="1000" b="1">
                  <a:solidFill>
                    <a:srgbClr val="000000"/>
                  </a:solidFill>
                </a:rPr>
                <a:t>Проблемы:</a:t>
              </a:r>
            </a:p>
            <a:p>
              <a:pPr>
                <a:lnSpc>
                  <a:spcPct val="150000"/>
                </a:lnSpc>
              </a:pPr>
              <a:r>
                <a:rPr lang="ru-RU" sz="1000">
                  <a:solidFill>
                    <a:srgbClr val="000000"/>
                  </a:solidFill>
                </a:rPr>
                <a:t>     1. Большое время ожидания в очереди при подаче запроса о предоставлении услуги по уведомительной регистрации коллективных договоров</a:t>
              </a:r>
            </a:p>
            <a:p>
              <a:pPr>
                <a:lnSpc>
                  <a:spcPct val="150000"/>
                </a:lnSpc>
              </a:pPr>
              <a:r>
                <a:rPr lang="ru-RU" sz="1000">
                  <a:solidFill>
                    <a:srgbClr val="000000"/>
                  </a:solidFill>
                </a:rPr>
                <a:t>     2. Длительность регистрации коллективного договора</a:t>
              </a:r>
            </a:p>
          </p:txBody>
        </p:sp>
        <p:sp>
          <p:nvSpPr>
            <p:cNvPr id="366630" name="TextBox 22"/>
            <p:cNvSpPr txBox="1">
              <a:spLocks noChangeArrowheads="1"/>
            </p:cNvSpPr>
            <p:nvPr/>
          </p:nvSpPr>
          <p:spPr bwMode="auto">
            <a:xfrm>
              <a:off x="317987" y="913162"/>
              <a:ext cx="4211373" cy="2674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3296" tIns="46648" rIns="93296" bIns="46648">
              <a:spAutoFit/>
            </a:bodyPr>
            <a:lstStyle/>
            <a:p>
              <a:pPr algn="ctr" defTabSz="933450"/>
              <a:r>
                <a:rPr lang="ru-RU" altLang="ru-RU" sz="1000" b="1" u="sng">
                  <a:solidFill>
                    <a:srgbClr val="2E658E"/>
                  </a:solidFill>
                </a:rPr>
                <a:t>1. Вовлеченные лица и рамки проекта</a:t>
              </a:r>
            </a:p>
          </p:txBody>
        </p:sp>
        <p:sp>
          <p:nvSpPr>
            <p:cNvPr id="366631" name="TextBox 65"/>
            <p:cNvSpPr txBox="1">
              <a:spLocks noChangeArrowheads="1"/>
            </p:cNvSpPr>
            <p:nvPr/>
          </p:nvSpPr>
          <p:spPr bwMode="auto">
            <a:xfrm>
              <a:off x="378111" y="2004823"/>
              <a:ext cx="3870667" cy="745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3296" tIns="46648" rIns="93296" bIns="46648">
              <a:spAutoFit/>
            </a:bodyPr>
            <a:lstStyle/>
            <a:p>
              <a:r>
                <a:rPr lang="ru-RU" altLang="ru-RU" sz="1000" b="1" u="sng">
                  <a:solidFill>
                    <a:srgbClr val="2E658E"/>
                  </a:solidFill>
                </a:rPr>
                <a:t>Границы процесса</a:t>
              </a:r>
              <a:r>
                <a:rPr lang="en-US" altLang="ru-RU" sz="1000" b="1" u="sng">
                  <a:solidFill>
                    <a:srgbClr val="2E658E"/>
                  </a:solidFill>
                </a:rPr>
                <a:t>:</a:t>
              </a:r>
              <a:r>
                <a:rPr lang="ru-RU" altLang="ru-RU" sz="1000" b="1">
                  <a:solidFill>
                    <a:srgbClr val="2E658E"/>
                  </a:solidFill>
                </a:rPr>
                <a:t> </a:t>
              </a:r>
              <a:r>
                <a:rPr lang="ru-RU" altLang="ru-RU" sz="1000">
                  <a:solidFill>
                    <a:srgbClr val="000000"/>
                  </a:solidFill>
                </a:rPr>
                <a:t>От создания проекта документа до регистрации коллективного договора</a:t>
              </a:r>
            </a:p>
            <a:p>
              <a:endParaRPr lang="ru-RU" altLang="ru-RU" sz="1000"/>
            </a:p>
            <a:p>
              <a:endParaRPr lang="en-US" altLang="ru-RU" sz="1000"/>
            </a:p>
          </p:txBody>
        </p:sp>
      </p:grpSp>
      <p:sp>
        <p:nvSpPr>
          <p:cNvPr id="366595" name="Rectangle 6"/>
          <p:cNvSpPr txBox="1">
            <a:spLocks noChangeArrowheads="1"/>
          </p:cNvSpPr>
          <p:nvPr/>
        </p:nvSpPr>
        <p:spPr bwMode="auto">
          <a:xfrm>
            <a:off x="7418388" y="4724400"/>
            <a:ext cx="210661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33450">
              <a:spcBef>
                <a:spcPts val="300"/>
              </a:spcBef>
              <a:spcAft>
                <a:spcPts val="300"/>
              </a:spcAft>
            </a:pPr>
            <a:endParaRPr lang="ru-RU" altLang="ru-RU" sz="1000">
              <a:solidFill>
                <a:srgbClr val="414142"/>
              </a:solidFill>
            </a:endParaRPr>
          </a:p>
        </p:txBody>
      </p:sp>
      <p:graphicFrame>
        <p:nvGraphicFramePr>
          <p:cNvPr id="125994" name="Group 42"/>
          <p:cNvGraphicFramePr>
            <a:graphicFrameLocks noGrp="1"/>
          </p:cNvGraphicFramePr>
          <p:nvPr/>
        </p:nvGraphicFramePr>
        <p:xfrm>
          <a:off x="488950" y="4005263"/>
          <a:ext cx="4298950" cy="2214562"/>
        </p:xfrm>
        <a:graphic>
          <a:graphicData uri="http://schemas.openxmlformats.org/drawingml/2006/table">
            <a:tbl>
              <a:tblPr/>
              <a:tblGrid>
                <a:gridCol w="2339975"/>
                <a:gridCol w="1014413"/>
                <a:gridCol w="944562"/>
              </a:tblGrid>
              <a:tr h="511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аименование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цели</a:t>
                      </a:r>
                    </a:p>
                  </a:txBody>
                  <a:tcPr marL="93296" marR="93296" marT="46648" marB="466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Текущий показатель</a:t>
                      </a:r>
                    </a:p>
                  </a:txBody>
                  <a:tcPr marL="93296" marR="93296" marT="46648" marB="4664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Целевой показатель</a:t>
                      </a:r>
                    </a:p>
                  </a:txBody>
                  <a:tcPr marL="93296" marR="93296" marT="46648" marB="4664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04925">
                <a:tc>
                  <a:txBody>
                    <a:bodyPr/>
                    <a:lstStyle/>
                    <a:p>
                      <a:pPr marL="0" marR="0" lvl="0" indent="0" algn="l" defTabSz="931863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. 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Оптимизация срока предоставления муниципальной услуги по уведомительной регистрации коллективных договоров</a:t>
                      </a:r>
                    </a:p>
                    <a:p>
                      <a:pPr marL="0" marR="0" lvl="0" indent="0" algn="l" defTabSz="931863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3296" marR="93296" marT="46648" marB="466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7 дн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30 мин</a:t>
                      </a:r>
                    </a:p>
                  </a:txBody>
                  <a:tcPr marL="93296" marR="93296" marT="47750" marB="4664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9 дней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0 мин</a:t>
                      </a:r>
                    </a:p>
                  </a:txBody>
                  <a:tcPr marL="93296" marR="93296" marT="47750" marB="4664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9713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Эффекты: сокращения сроков муниципальной услуги</a:t>
                      </a:r>
                    </a:p>
                  </a:txBody>
                  <a:tcPr marL="93296" marR="93296" marT="46648" marB="466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66612" name="Rectangle 89"/>
          <p:cNvSpPr>
            <a:spLocks noChangeArrowheads="1"/>
          </p:cNvSpPr>
          <p:nvPr/>
        </p:nvSpPr>
        <p:spPr bwMode="auto">
          <a:xfrm>
            <a:off x="4987925" y="4024313"/>
            <a:ext cx="4918075" cy="207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ru-RU" altLang="ru-RU" sz="1000"/>
              <a:t>1. Старт проекта – 01.03.2021 г.</a:t>
            </a:r>
          </a:p>
          <a:p>
            <a:pPr>
              <a:lnSpc>
                <a:spcPct val="150000"/>
              </a:lnSpc>
            </a:pPr>
            <a:r>
              <a:rPr lang="ru-RU" altLang="ru-RU" sz="1000"/>
              <a:t>2. Диагностика и целевое состояние –01.03.2021 г.-05.06.2021 г.</a:t>
            </a:r>
          </a:p>
          <a:p>
            <a:pPr>
              <a:lnSpc>
                <a:spcPct val="150000"/>
              </a:lnSpc>
              <a:buFont typeface="Arial" charset="0"/>
              <a:buChar char="•"/>
            </a:pPr>
            <a:r>
              <a:rPr lang="ru-RU" altLang="ru-RU" sz="1000"/>
              <a:t>Разработка текущей карты процесса – 23.03.2021 г.-06.04.2021 г.</a:t>
            </a:r>
          </a:p>
          <a:p>
            <a:pPr>
              <a:lnSpc>
                <a:spcPct val="150000"/>
              </a:lnSpc>
              <a:buFont typeface="Arial" charset="0"/>
              <a:buChar char="•"/>
            </a:pPr>
            <a:r>
              <a:rPr lang="ru-RU" altLang="ru-RU" sz="1000"/>
              <a:t>Разработка целевой карты процесса –02.04.2021 г.-07.04.2021 г.</a:t>
            </a:r>
          </a:p>
          <a:p>
            <a:pPr>
              <a:lnSpc>
                <a:spcPct val="150000"/>
              </a:lnSpc>
            </a:pPr>
            <a:r>
              <a:rPr lang="ru-RU" altLang="ru-RU" sz="1000"/>
              <a:t>3. Внедрение улучшений – 12.08.2021 г.-05.11.2021 г.</a:t>
            </a:r>
          </a:p>
          <a:p>
            <a:pPr>
              <a:lnSpc>
                <a:spcPct val="150000"/>
              </a:lnSpc>
              <a:buFont typeface="Arial" charset="0"/>
              <a:buChar char="•"/>
            </a:pPr>
            <a:r>
              <a:rPr lang="ru-RU" altLang="ru-RU" sz="1000"/>
              <a:t>Совещание по защите подходов внедрения – 12.08.2021 г.</a:t>
            </a:r>
          </a:p>
          <a:p>
            <a:pPr>
              <a:lnSpc>
                <a:spcPct val="150000"/>
              </a:lnSpc>
            </a:pPr>
            <a:r>
              <a:rPr lang="ru-RU" altLang="ru-RU" sz="1000"/>
              <a:t>4. Закрепление результатов и закрытие проекта – 05.11.2021 г.-05.12.2021 г.</a:t>
            </a:r>
          </a:p>
          <a:p>
            <a:pPr>
              <a:lnSpc>
                <a:spcPct val="150000"/>
              </a:lnSpc>
              <a:buFont typeface="Arial" charset="0"/>
              <a:buChar char="•"/>
            </a:pPr>
            <a:r>
              <a:rPr lang="ru-RU" altLang="ru-RU" sz="1000"/>
              <a:t>Завершающее совещание – 05.12.2021 г.</a:t>
            </a:r>
          </a:p>
          <a:p>
            <a:pPr eaLnBrk="0" hangingPunct="0"/>
            <a:endParaRPr lang="ru-RU" altLang="ru-RU" sz="1000">
              <a:latin typeface="Corbel" pitchFamily="34" charset="0"/>
            </a:endParaRPr>
          </a:p>
        </p:txBody>
      </p:sp>
      <p:sp>
        <p:nvSpPr>
          <p:cNvPr id="29" name="Rectangle 3"/>
          <p:cNvSpPr txBox="1">
            <a:spLocks noChangeArrowheads="1"/>
          </p:cNvSpPr>
          <p:nvPr/>
        </p:nvSpPr>
        <p:spPr bwMode="auto">
          <a:xfrm>
            <a:off x="6753225" y="180975"/>
            <a:ext cx="3816350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ctr"/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FontTx/>
              <a:buNone/>
              <a:defRPr sz="1400" b="1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400" eaLnBrk="1" hangingPunct="1">
              <a:lnSpc>
                <a:spcPct val="130000"/>
              </a:lnSpc>
              <a:spcBef>
                <a:spcPct val="0"/>
              </a:spcBef>
              <a:defRPr/>
            </a:pPr>
            <a:r>
              <a:rPr lang="ru-RU" altLang="ru-RU" sz="1800" b="0" kern="0" dirty="0">
                <a:solidFill>
                  <a:schemeClr val="hlink"/>
                </a:solidFill>
              </a:rPr>
              <a:t> </a:t>
            </a:r>
            <a:endParaRPr lang="ru-RU" altLang="ru-RU" sz="1800" b="0" i="1" kern="0" dirty="0">
              <a:solidFill>
                <a:schemeClr val="hlink"/>
              </a:solidFill>
            </a:endParaRPr>
          </a:p>
        </p:txBody>
      </p:sp>
      <p:pic>
        <p:nvPicPr>
          <p:cNvPr id="366614" name="Picture 2" descr="Coat of arms of Oryol Oblast (large).sv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056688" y="0"/>
            <a:ext cx="636587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6615" name="Picture 43"/>
          <p:cNvPicPr>
            <a:picLocks noChangeAspect="1" noChangeArrowheads="1"/>
          </p:cNvPicPr>
          <p:nvPr/>
        </p:nvPicPr>
        <p:blipFill>
          <a:blip r:embed="rId5"/>
          <a:srcRect t="29956" r="3764"/>
          <a:stretch>
            <a:fillRect/>
          </a:stretch>
        </p:blipFill>
        <p:spPr bwMode="auto">
          <a:xfrm>
            <a:off x="0" y="115888"/>
            <a:ext cx="704850" cy="636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9.jpeg"/></Relationships>
</file>

<file path=ppt/theme/theme1.xml><?xml version="1.0" encoding="utf-8"?>
<a:theme xmlns:a="http://schemas.openxmlformats.org/drawingml/2006/main" name="b-default">
  <a:themeElements>
    <a:clrScheme name="Custom 2">
      <a:dk1>
        <a:srgbClr val="414142"/>
      </a:dk1>
      <a:lt1>
        <a:srgbClr val="FFFFFF"/>
      </a:lt1>
      <a:dk2>
        <a:srgbClr val="08486B"/>
      </a:dk2>
      <a:lt2>
        <a:srgbClr val="808080"/>
      </a:lt2>
      <a:accent1>
        <a:srgbClr val="F37D07"/>
      </a:accent1>
      <a:accent2>
        <a:srgbClr val="0D6186"/>
      </a:accent2>
      <a:accent3>
        <a:srgbClr val="90CDD7"/>
      </a:accent3>
      <a:accent4>
        <a:srgbClr val="0F7C9C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Office Classic 2">
      <a:majorFont>
        <a:latin typeface="Microsoft Sans Serif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icrosoft Sans Serif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Mod val="40000"/>
            <a:lumOff val="60000"/>
          </a:schemeClr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rgbClr val="08486B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>
          <a:solidFill>
            <a:schemeClr val="bg2"/>
          </a:solidFill>
        </a:ln>
      </a:spPr>
      <a:bodyPr wrap="square" rtlCol="0" anchor="ctr">
        <a:noAutofit/>
      </a:bodyPr>
      <a:lstStyle>
        <a:defPPr algn="ctr">
          <a:defRPr sz="1400" dirty="0" smtClean="0"/>
        </a:defPPr>
      </a:lstStyle>
    </a:spDef>
    <a:txDef>
      <a:spPr>
        <a:noFill/>
      </a:spPr>
      <a:bodyPr wrap="square" lIns="0" tIns="0" rIns="0" bIns="0" rtlCol="0" anchor="ctr">
        <a:noAutofit/>
      </a:bodyPr>
      <a:lstStyle>
        <a:defPPr algn="ctr">
          <a:defRPr sz="1600" b="1" dirty="0" smtClean="0"/>
        </a:defPPr>
      </a:lstStyle>
    </a:tx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Параллакс">
  <a:themeElements>
    <a:clrScheme name="Параллакс">
      <a:dk1>
        <a:sysClr val="windowText" lastClr="000000"/>
      </a:dk1>
      <a:lt1>
        <a:sysClr val="window" lastClr="FFFFFF"/>
      </a:lt1>
      <a:dk2>
        <a:srgbClr val="212121"/>
      </a:dk2>
      <a:lt2>
        <a:srgbClr val="EBEBEB"/>
      </a:lt2>
      <a:accent1>
        <a:srgbClr val="30ACEC"/>
      </a:accent1>
      <a:accent2>
        <a:srgbClr val="80C34F"/>
      </a:accent2>
      <a:accent3>
        <a:srgbClr val="E29D3E"/>
      </a:accent3>
      <a:accent4>
        <a:srgbClr val="D64A3B"/>
      </a:accent4>
      <a:accent5>
        <a:srgbClr val="D64787"/>
      </a:accent5>
      <a:accent6>
        <a:srgbClr val="A666E1"/>
      </a:accent6>
      <a:hlink>
        <a:srgbClr val="3085ED"/>
      </a:hlink>
      <a:folHlink>
        <a:srgbClr val="82B6F4"/>
      </a:folHlink>
    </a:clrScheme>
    <a:fontScheme name="Параллакс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Параллакс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04000"/>
              </a:schemeClr>
            </a:gs>
            <a:gs pos="100000">
              <a:schemeClr val="phClr">
                <a:tint val="84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2000"/>
              </a:schemeClr>
            </a:gs>
            <a:gs pos="100000">
              <a:schemeClr val="phClr">
                <a:shade val="88000"/>
                <a:lumMod val="94000"/>
              </a:schemeClr>
            </a:gs>
          </a:gsLst>
          <a:path path="circle">
            <a:fillToRect l="50000" t="100000" r="100000" b="50000"/>
          </a:path>
        </a:gradFill>
      </a:fillStyleLst>
      <a:lnStyleLst>
        <a:ln w="9525" cap="rnd" cmpd="sng" algn="ctr">
          <a:solidFill>
            <a:schemeClr val="phClr">
              <a:tint val="6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reflection blurRad="12700" stA="26000" endPos="32000" dist="12700" dir="5400000" sy="-100000" rotWithShape="0"/>
          </a:effectLst>
        </a:effectStyle>
        <a:effectStyle>
          <a:effectLst>
            <a:outerShdw blurRad="38100" dist="25400" dir="5400000" rotWithShape="0">
              <a:srgbClr val="000000">
                <a:alpha val="64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25400" h="127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76000"/>
                <a:satMod val="180000"/>
              </a:schemeClr>
              <a:schemeClr val="phClr">
                <a:tint val="80000"/>
                <a:satMod val="120000"/>
                <a:lumMod val="180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arallax" id="{3388167B-A2EB-4685-9635-1831D9AEF8C4}" vid="{4F7A876A-7598-49CA-AFC8-8EDA2551E4A7}"/>
    </a:ext>
  </a:extLst>
</a:theme>
</file>

<file path=ppt/theme/theme1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9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5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5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5.xml><?xml version="1.0" encoding="utf-8"?>
<a:theme xmlns:a="http://schemas.openxmlformats.org/drawingml/2006/main" name="17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7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7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7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7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6.xml><?xml version="1.0" encoding="utf-8"?>
<a:theme xmlns:a="http://schemas.openxmlformats.org/drawingml/2006/main" name="10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0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7.xml><?xml version="1.0" encoding="utf-8"?>
<a:theme xmlns:a="http://schemas.openxmlformats.org/drawingml/2006/main" name="11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1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8.xml><?xml version="1.0" encoding="utf-8"?>
<a:theme xmlns:a="http://schemas.openxmlformats.org/drawingml/2006/main" name="16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6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6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6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6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9.xml><?xml version="1.0" encoding="utf-8"?>
<a:theme xmlns:a="http://schemas.openxmlformats.org/drawingml/2006/main" name="15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5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5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5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5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 корпоративной презентации  PowerPoint без надстройки</Template>
  <TotalTime>26082</TotalTime>
  <Words>206</Words>
  <Application>Microsoft Office PowerPoint</Application>
  <PresentationFormat>Лист A4 (210x297 мм)</PresentationFormat>
  <Paragraphs>39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Шаблон оформления</vt:lpstr>
      </vt:variant>
      <vt:variant>
        <vt:i4>10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109" baseType="lpstr">
      <vt:lpstr>Arial</vt:lpstr>
      <vt:lpstr>Microsoft Sans Serif</vt:lpstr>
      <vt:lpstr>Calibri</vt:lpstr>
      <vt:lpstr>Corbel</vt:lpstr>
      <vt:lpstr>Fira Sans</vt:lpstr>
      <vt:lpstr>b-default</vt:lpstr>
      <vt:lpstr>9_b-default</vt:lpstr>
      <vt:lpstr>11_b-default</vt:lpstr>
      <vt:lpstr>5_RDM027</vt:lpstr>
      <vt:lpstr>17_RDM027</vt:lpstr>
      <vt:lpstr>10_RDM027</vt:lpstr>
      <vt:lpstr>11_RDM027</vt:lpstr>
      <vt:lpstr>16_RDM027</vt:lpstr>
      <vt:lpstr>15_RDM027</vt:lpstr>
      <vt:lpstr>15_b-default</vt:lpstr>
      <vt:lpstr>Параллакс</vt:lpstr>
      <vt:lpstr>b-default</vt:lpstr>
      <vt:lpstr>b-default</vt:lpstr>
      <vt:lpstr>b-default</vt:lpstr>
      <vt:lpstr>b-default</vt:lpstr>
      <vt:lpstr>b-default</vt:lpstr>
      <vt:lpstr>b-default</vt:lpstr>
      <vt:lpstr>b-default</vt:lpstr>
      <vt:lpstr>b-default</vt:lpstr>
      <vt:lpstr>b-default</vt:lpstr>
      <vt:lpstr>b-default</vt:lpstr>
      <vt:lpstr>b-default</vt:lpstr>
      <vt:lpstr>b-default</vt:lpstr>
      <vt:lpstr>b-default</vt:lpstr>
      <vt:lpstr>b-default</vt:lpstr>
      <vt:lpstr>b-default</vt:lpstr>
      <vt:lpstr>b-default</vt:lpstr>
      <vt:lpstr>b-default</vt:lpstr>
      <vt:lpstr>b-default</vt:lpstr>
      <vt:lpstr>b-default</vt:lpstr>
      <vt:lpstr>b-default</vt:lpstr>
      <vt:lpstr>b-default</vt:lpstr>
      <vt:lpstr>b-default</vt:lpstr>
      <vt:lpstr>b-default</vt:lpstr>
      <vt:lpstr>b-default</vt:lpstr>
      <vt:lpstr>b-default</vt:lpstr>
      <vt:lpstr>b-default</vt:lpstr>
      <vt:lpstr>b-default</vt:lpstr>
      <vt:lpstr>9_b-default</vt:lpstr>
      <vt:lpstr>9_b-default</vt:lpstr>
      <vt:lpstr>9_b-default</vt:lpstr>
      <vt:lpstr>9_b-default</vt:lpstr>
      <vt:lpstr>9_b-default</vt:lpstr>
      <vt:lpstr>9_b-default</vt:lpstr>
      <vt:lpstr>9_b-default</vt:lpstr>
      <vt:lpstr>9_b-default</vt:lpstr>
      <vt:lpstr>9_b-default</vt:lpstr>
      <vt:lpstr>9_b-default</vt:lpstr>
      <vt:lpstr>9_b-default</vt:lpstr>
      <vt:lpstr>11_b-default</vt:lpstr>
      <vt:lpstr>11_b-default</vt:lpstr>
      <vt:lpstr>11_b-default</vt:lpstr>
      <vt:lpstr>11_b-default</vt:lpstr>
      <vt:lpstr>11_b-default</vt:lpstr>
      <vt:lpstr>11_b-default</vt:lpstr>
      <vt:lpstr>11_b-default</vt:lpstr>
      <vt:lpstr>11_b-default</vt:lpstr>
      <vt:lpstr>11_b-default</vt:lpstr>
      <vt:lpstr>11_b-default</vt:lpstr>
      <vt:lpstr>11_b-default</vt:lpstr>
      <vt:lpstr>11_b-default</vt:lpstr>
      <vt:lpstr>5_RDM027</vt:lpstr>
      <vt:lpstr>5_RDM027</vt:lpstr>
      <vt:lpstr>5_RDM027</vt:lpstr>
      <vt:lpstr>5_RDM027</vt:lpstr>
      <vt:lpstr>5_RDM027</vt:lpstr>
      <vt:lpstr>17_RDM027</vt:lpstr>
      <vt:lpstr>17_RDM027</vt:lpstr>
      <vt:lpstr>17_RDM027</vt:lpstr>
      <vt:lpstr>17_RDM027</vt:lpstr>
      <vt:lpstr>10_RDM027</vt:lpstr>
      <vt:lpstr>10_RDM027</vt:lpstr>
      <vt:lpstr>10_RDM027</vt:lpstr>
      <vt:lpstr>10_RDM027</vt:lpstr>
      <vt:lpstr>11_RDM027</vt:lpstr>
      <vt:lpstr>11_RDM027</vt:lpstr>
      <vt:lpstr>11_RDM027</vt:lpstr>
      <vt:lpstr>16_RDM027</vt:lpstr>
      <vt:lpstr>16_RDM027</vt:lpstr>
      <vt:lpstr>16_RDM027</vt:lpstr>
      <vt:lpstr>16_RDM027</vt:lpstr>
      <vt:lpstr>15_RDM027</vt:lpstr>
      <vt:lpstr>15_RDM027</vt:lpstr>
      <vt:lpstr>15_RDM027</vt:lpstr>
      <vt:lpstr>15_b-default</vt:lpstr>
      <vt:lpstr>15_b-default</vt:lpstr>
      <vt:lpstr>15_b-default</vt:lpstr>
      <vt:lpstr>Параллакс</vt:lpstr>
      <vt:lpstr>Параллакс</vt:lpstr>
      <vt:lpstr>Параллакс</vt:lpstr>
      <vt:lpstr>Параллакс</vt:lpstr>
      <vt:lpstr>Параллакс</vt:lpstr>
      <vt:lpstr>Параллакс</vt:lpstr>
      <vt:lpstr>Параллакс</vt:lpstr>
      <vt:lpstr>Параллакс</vt:lpstr>
      <vt:lpstr>Параллакс</vt:lpstr>
      <vt:lpstr>Параллакс</vt:lpstr>
      <vt:lpstr>Параллакс</vt:lpstr>
      <vt:lpstr>Параллакс</vt:lpstr>
      <vt:lpstr>Параллакс</vt:lpstr>
      <vt:lpstr>Параллакс</vt:lpstr>
      <vt:lpstr>Параллакс</vt:lpstr>
      <vt:lpstr>think-cell Slide</vt:lpstr>
      <vt:lpstr>Карточка проекта «Оптимизация процесса  регистрации  коллективных договоров» 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lexander V. Romashkin</dc:creator>
  <cp:lastModifiedBy>User</cp:lastModifiedBy>
  <cp:revision>1714</cp:revision>
  <cp:lastPrinted>2020-07-08T12:48:57Z</cp:lastPrinted>
  <dcterms:created xsi:type="dcterms:W3CDTF">2015-03-06T06:22:34Z</dcterms:created>
  <dcterms:modified xsi:type="dcterms:W3CDTF">2021-02-26T07:24:23Z</dcterms:modified>
</cp:coreProperties>
</file>